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</p:sldIdLst>
  <p:sldSz cx="12192000" cy="6858000"/>
  <p:notesSz cx="6858000" cy="9144000"/>
  <p:custDataLst>
    <p:tags r:id="rId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B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AB697D-D0C1-4C12-BAC8-A0BA9B60B910}" v="99" dt="2023-03-07T21:34:17.9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1446" y="1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imer Ádám" userId="8a923def-9a81-4ceb-8db9-424f2c16c007" providerId="ADAL" clId="{EBAB697D-D0C1-4C12-BAC8-A0BA9B60B910}"/>
    <pc:docChg chg="undo redo custSel addSld modSld replTag">
      <pc:chgData name="Cimer Ádám" userId="8a923def-9a81-4ceb-8db9-424f2c16c007" providerId="ADAL" clId="{EBAB697D-D0C1-4C12-BAC8-A0BA9B60B910}" dt="2023-03-07T21:34:43.235" v="356" actId="478"/>
      <pc:docMkLst>
        <pc:docMk/>
      </pc:docMkLst>
      <pc:sldChg chg="modSp mod">
        <pc:chgData name="Cimer Ádám" userId="8a923def-9a81-4ceb-8db9-424f2c16c007" providerId="ADAL" clId="{EBAB697D-D0C1-4C12-BAC8-A0BA9B60B910}" dt="2023-03-07T21:08:02.011" v="5" actId="2085"/>
        <pc:sldMkLst>
          <pc:docMk/>
          <pc:sldMk cId="1063162746" sldId="257"/>
        </pc:sldMkLst>
        <pc:spChg chg="mod">
          <ac:chgData name="Cimer Ádám" userId="8a923def-9a81-4ceb-8db9-424f2c16c007" providerId="ADAL" clId="{EBAB697D-D0C1-4C12-BAC8-A0BA9B60B910}" dt="2023-03-07T21:08:02.011" v="5" actId="2085"/>
          <ac:spMkLst>
            <pc:docMk/>
            <pc:sldMk cId="1063162746" sldId="257"/>
            <ac:spMk id="4" creationId="{E0F4CA16-0D01-6A52-C0C2-6329ECD03D52}"/>
          </ac:spMkLst>
        </pc:sp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22" creationId="{75E577B5-4343-40ED-DC16-503F839EEF8B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3" creationId="{741CDB57-B9BF-C0AF-4D84-3E0FE0A99763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4" creationId="{739B6953-953C-94AF-191D-EC542651D0CA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5" creationId="{50457996-2882-5EBE-E067-2816D02AC60B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6" creationId="{C3523FD0-DEF5-538A-BD1A-109F21A98C89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7" creationId="{A4AD251D-2118-3566-8257-57A420E5A546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8" creationId="{64E44335-3CB8-F26B-CB6F-7416ACB06B37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39" creationId="{08027919-0A7B-B025-22A8-725F30AEEE41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40" creationId="{FD1B882B-00E4-A0A1-C19A-BDC1A9B7172C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41" creationId="{93C2C294-4BE1-1C4B-591A-F81A9283C64E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44" creationId="{5928E039-1BA1-E143-661F-14E7C809BA3B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47" creationId="{1EB6F376-6D06-0C4D-8DFD-3E998ECCB29A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49" creationId="{3C8169E9-4F1E-BDDE-930F-BA971EE50A4A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3" creationId="{38CCA576-4985-F75E-469F-1524858950E8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4" creationId="{DCBCD931-9AB1-DBA6-0C6D-348CDA3EC4FA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5" creationId="{01A31FD3-C23D-307E-8DD4-AF2E1AC48C52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6" creationId="{97E82236-3AD9-B8D0-76C3-9931B74C31FE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7" creationId="{DC38EC7E-3ED5-FF96-A436-CBF71AA31EDD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8" creationId="{8186AC26-19FE-0CD6-D9AE-8A12395FC280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59" creationId="{60D85684-84E2-8355-0309-19D5A1A39AE3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0" creationId="{377EC07B-3F83-00B1-53A4-418D21E66BE7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1" creationId="{C866865C-B933-D34E-F6FA-C53DAC316502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3" creationId="{DCFD1359-5D77-D9FD-25D9-82B3D103E57F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4" creationId="{FA491B9F-F8FE-248D-4A3D-FA2258C21A6E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5" creationId="{E9D56F91-4EB1-331D-9398-D5E311B7C277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6" creationId="{9F8DEA91-A371-EFCE-7044-AFA4B08DDE13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69" creationId="{80A3ACAF-675D-2D42-76FF-D16DCDC2DFD0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70" creationId="{59D8BD91-ADD8-8B14-BE96-5B5DC8453684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85" creationId="{908FABCB-6DC7-BEB8-A824-D34262C6CE15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86" creationId="{A9175375-F48E-F71C-C1B5-D055BF5D57C6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87" creationId="{3C739360-EB89-79CD-632B-89D964D2E882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88" creationId="{369FDA22-7924-8369-EDA8-16EC5EA4EDFF}"/>
          </ac:picMkLst>
        </pc:picChg>
        <pc:picChg chg="mod">
          <ac:chgData name="Cimer Ádám" userId="8a923def-9a81-4ceb-8db9-424f2c16c007" providerId="ADAL" clId="{EBAB697D-D0C1-4C12-BAC8-A0BA9B60B910}" dt="2023-03-07T21:07:34.496" v="0" actId="2085"/>
          <ac:picMkLst>
            <pc:docMk/>
            <pc:sldMk cId="1063162746" sldId="257"/>
            <ac:picMk id="91" creationId="{F1A19940-6388-AF8E-7DD1-9F5AD9C0CD52}"/>
          </ac:picMkLst>
        </pc:picChg>
      </pc:sldChg>
      <pc:sldChg chg="addSp delSp modSp new add mod">
        <pc:chgData name="Cimer Ádám" userId="8a923def-9a81-4ceb-8db9-424f2c16c007" providerId="ADAL" clId="{EBAB697D-D0C1-4C12-BAC8-A0BA9B60B910}" dt="2023-03-07T21:12:04.705" v="27"/>
        <pc:sldMkLst>
          <pc:docMk/>
          <pc:sldMk cId="1809091170" sldId="258"/>
        </pc:sldMkLst>
        <pc:spChg chg="del">
          <ac:chgData name="Cimer Ádám" userId="8a923def-9a81-4ceb-8db9-424f2c16c007" providerId="ADAL" clId="{EBAB697D-D0C1-4C12-BAC8-A0BA9B60B910}" dt="2023-03-07T21:12:04.188" v="8" actId="478"/>
          <ac:spMkLst>
            <pc:docMk/>
            <pc:sldMk cId="1809091170" sldId="258"/>
            <ac:spMk id="2" creationId="{83A0E96C-D377-2D4E-59B2-AF35D647ED08}"/>
          </ac:spMkLst>
        </pc:spChg>
        <pc:spChg chg="del">
          <ac:chgData name="Cimer Ádám" userId="8a923def-9a81-4ceb-8db9-424f2c16c007" providerId="ADAL" clId="{EBAB697D-D0C1-4C12-BAC8-A0BA9B60B910}" dt="2023-03-07T21:12:04.188" v="8" actId="478"/>
          <ac:spMkLst>
            <pc:docMk/>
            <pc:sldMk cId="1809091170" sldId="258"/>
            <ac:spMk id="3" creationId="{59DC8444-6091-FC8F-1711-CF10DC905DE8}"/>
          </ac:spMkLst>
        </pc:spChg>
        <pc:graphicFrameChg chg="add mod ord modVis replST">
          <ac:chgData name="Cimer Ádám" userId="8a923def-9a81-4ceb-8db9-424f2c16c007" providerId="ADAL" clId="{EBAB697D-D0C1-4C12-BAC8-A0BA9B60B910}" dt="2023-03-07T21:12:04.705" v="27"/>
          <ac:graphicFrameMkLst>
            <pc:docMk/>
            <pc:sldMk cId="1809091170" sldId="258"/>
            <ac:graphicFrameMk id="6" creationId="{C57E5907-3A1C-D28E-6673-1100B7F5D6FD}"/>
          </ac:graphicFrameMkLst>
        </pc:graphicFrameChg>
        <pc:picChg chg="add mod">
          <ac:chgData name="Cimer Ádám" userId="8a923def-9a81-4ceb-8db9-424f2c16c007" providerId="ADAL" clId="{EBAB697D-D0C1-4C12-BAC8-A0BA9B60B910}" dt="2023-03-07T21:12:04.489" v="9"/>
          <ac:picMkLst>
            <pc:docMk/>
            <pc:sldMk cId="1809091170" sldId="258"/>
            <ac:picMk id="5" creationId="{1BB06E00-D145-8AB5-96E8-F5ACFD27FE9F}"/>
          </ac:picMkLst>
        </pc:picChg>
      </pc:sldChg>
      <pc:sldChg chg="addSp delSp modSp new add mod setBg">
        <pc:chgData name="Cimer Ádám" userId="8a923def-9a81-4ceb-8db9-424f2c16c007" providerId="ADAL" clId="{EBAB697D-D0C1-4C12-BAC8-A0BA9B60B910}" dt="2023-03-07T21:23:33.360" v="262" actId="1038"/>
        <pc:sldMkLst>
          <pc:docMk/>
          <pc:sldMk cId="214200205" sldId="259"/>
        </pc:sldMkLst>
        <pc:spChg chg="del">
          <ac:chgData name="Cimer Ádám" userId="8a923def-9a81-4ceb-8db9-424f2c16c007" providerId="ADAL" clId="{EBAB697D-D0C1-4C12-BAC8-A0BA9B60B910}" dt="2023-03-07T21:12:15.994" v="30" actId="478"/>
          <ac:spMkLst>
            <pc:docMk/>
            <pc:sldMk cId="214200205" sldId="259"/>
            <ac:spMk id="2" creationId="{E2878797-70DA-1DB8-BD29-9950CE7172A5}"/>
          </ac:spMkLst>
        </pc:spChg>
        <pc:spChg chg="del">
          <ac:chgData name="Cimer Ádám" userId="8a923def-9a81-4ceb-8db9-424f2c16c007" providerId="ADAL" clId="{EBAB697D-D0C1-4C12-BAC8-A0BA9B60B910}" dt="2023-03-07T21:12:15.994" v="30" actId="478"/>
          <ac:spMkLst>
            <pc:docMk/>
            <pc:sldMk cId="214200205" sldId="259"/>
            <ac:spMk id="3" creationId="{A4D28DF6-11E1-F153-AE9D-72D48FF4595D}"/>
          </ac:spMkLst>
        </pc:spChg>
        <pc:grpChg chg="add del mod">
          <ac:chgData name="Cimer Ádám" userId="8a923def-9a81-4ceb-8db9-424f2c16c007" providerId="ADAL" clId="{EBAB697D-D0C1-4C12-BAC8-A0BA9B60B910}" dt="2023-03-07T21:12:29.804" v="52" actId="165"/>
          <ac:grpSpMkLst>
            <pc:docMk/>
            <pc:sldMk cId="214200205" sldId="259"/>
            <ac:grpSpMk id="38" creationId="{D9CF69B0-1983-B931-C462-9C5254E752D2}"/>
          </ac:grpSpMkLst>
        </pc:grpChg>
        <pc:graphicFrameChg chg="add mod ord modVis replST">
          <ac:chgData name="Cimer Ádám" userId="8a923def-9a81-4ceb-8db9-424f2c16c007" providerId="ADAL" clId="{EBAB697D-D0C1-4C12-BAC8-A0BA9B60B910}" dt="2023-03-07T21:12:45.764" v="126"/>
          <ac:graphicFrameMkLst>
            <pc:docMk/>
            <pc:sldMk cId="214200205" sldId="259"/>
            <ac:graphicFrameMk id="37" creationId="{6FFA58A1-BCCF-7E6D-7046-C74579AC1CBE}"/>
          </ac:graphicFrameMkLst>
        </pc:graphicFrameChg>
        <pc:picChg chg="add del mod ord topLvl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4" creationId="{1ADC8573-1C82-0DA1-469C-592A0B13DA86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" creationId="{8FFD6A86-C041-936F-8337-DDBECB6E59D1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" creationId="{E15A1A90-6158-BDC1-F8DC-242F60C0B581}"/>
          </ac:picMkLst>
        </pc:picChg>
        <pc:picChg chg="add del mod ord topLvl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7" creationId="{D92C1CE0-FB9A-1449-4766-523359BEF3E0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" creationId="{E09ABDB1-AEE2-B5A6-282A-9644FCC0C076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" creationId="{9A109133-F061-94AD-AA4E-D5963D30889E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" creationId="{ECD7F184-481D-6E46-0FE9-F76455CC7A09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" creationId="{30A3692C-866F-6318-BC6E-E475161FF760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2" creationId="{0FA0CAB7-F7B8-13A9-3FC4-2FDC207206DD}"/>
          </ac:picMkLst>
        </pc:picChg>
        <pc:picChg chg="add del mod ord topLvl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13" creationId="{0513C4F6-949A-2FE7-3B00-D707E2727679}"/>
          </ac:picMkLst>
        </pc:picChg>
        <pc:picChg chg="add del mod ord topLvl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14" creationId="{3848D72D-35BD-5A79-EA66-B36EC21D045E}"/>
          </ac:picMkLst>
        </pc:picChg>
        <pc:picChg chg="add del mod ord topLvl">
          <ac:chgData name="Cimer Ádám" userId="8a923def-9a81-4ceb-8db9-424f2c16c007" providerId="ADAL" clId="{EBAB697D-D0C1-4C12-BAC8-A0BA9B60B910}" dt="2023-03-07T21:18:26.566" v="193" actId="478"/>
          <ac:picMkLst>
            <pc:docMk/>
            <pc:sldMk cId="214200205" sldId="259"/>
            <ac:picMk id="15" creationId="{472B44C2-E88D-00EC-4491-BA0B236251C8}"/>
          </ac:picMkLst>
        </pc:picChg>
        <pc:picChg chg="add del mod ord topLvl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16" creationId="{226C534C-F690-E76F-76CE-904899A31371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7" creationId="{C2C8B607-691D-FF85-7C59-664BCD713394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8" creationId="{0998A20F-266E-57DD-D746-976DAC180E2D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9" creationId="{3071E3C9-28D9-B8E8-8E1A-52F69908197B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0" creationId="{BBAD4FCF-EA9B-C010-B728-58FE9AC1A8B8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1" creationId="{3A806718-6679-E9D1-AB52-05657DE58294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" creationId="{0240CCE7-1EFE-1B65-84A6-37FC3FCAAC97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" creationId="{5F9462AF-2DED-67E1-9D89-61B626D46569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" creationId="{128F5E3F-D746-DA07-F730-26AE8AA2DBBD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" creationId="{2593EA18-AB24-B488-43BE-6CBBB32F8CFD}"/>
          </ac:picMkLst>
        </pc:picChg>
        <pc:picChg chg="add del mod ord topLvl">
          <ac:chgData name="Cimer Ádám" userId="8a923def-9a81-4ceb-8db9-424f2c16c007" providerId="ADAL" clId="{EBAB697D-D0C1-4C12-BAC8-A0BA9B60B910}" dt="2023-03-07T21:18:26.566" v="193" actId="478"/>
          <ac:picMkLst>
            <pc:docMk/>
            <pc:sldMk cId="214200205" sldId="259"/>
            <ac:picMk id="26" creationId="{5A60DEDB-53CC-DE30-CF2F-9EB0E7C4953C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" creationId="{6D11EB03-7835-C4D0-472D-08EC336F3D91}"/>
          </ac:picMkLst>
        </pc:picChg>
        <pc:picChg chg="add del mod ord topLvl">
          <ac:chgData name="Cimer Ádám" userId="8a923def-9a81-4ceb-8db9-424f2c16c007" providerId="ADAL" clId="{EBAB697D-D0C1-4C12-BAC8-A0BA9B60B910}" dt="2023-03-07T21:18:26.566" v="193" actId="478"/>
          <ac:picMkLst>
            <pc:docMk/>
            <pc:sldMk cId="214200205" sldId="259"/>
            <ac:picMk id="28" creationId="{7E8AA5DA-8185-06B8-5BF0-D90F946D85D5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" creationId="{0568A93B-4573-E971-77A5-C38C8556B3EC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" creationId="{CF02222C-F1AC-14E6-50FF-558864630AD6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" creationId="{20CDD7A3-E99F-BBDE-9B86-C38241B41413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" creationId="{729ACAEE-FA72-2158-2439-1ACFC97F884F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" creationId="{1103AA41-91DE-1DA8-CB91-66C59FA9A827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" creationId="{E5B1D885-9D48-7060-E55A-E8AE73DC4098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" creationId="{D12D62FB-6A50-2159-DB4C-68C029E05554}"/>
          </ac:picMkLst>
        </pc:picChg>
        <pc:picChg chg="add mod ord topLvl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" creationId="{0857089E-ECFE-6992-4B6E-9B41B54580BC}"/>
          </ac:picMkLst>
        </pc:picChg>
        <pc:picChg chg="add del mod ord">
          <ac:chgData name="Cimer Ádám" userId="8a923def-9a81-4ceb-8db9-424f2c16c007" providerId="ADAL" clId="{EBAB697D-D0C1-4C12-BAC8-A0BA9B60B910}" dt="2023-03-07T21:14:10.198" v="155" actId="478"/>
          <ac:picMkLst>
            <pc:docMk/>
            <pc:sldMk cId="214200205" sldId="259"/>
            <ac:picMk id="39" creationId="{360C5706-89F0-40BE-2614-F34658FA5D0E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0" creationId="{56F5ED57-0140-FD55-1ABC-7058770F723A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1" creationId="{D5193F5C-77AE-09D2-AEAD-9B47EA874478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2" creationId="{C9828673-13D1-465D-22D8-D34F41E5CF4A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3" creationId="{C08D79BB-CCFC-7773-9813-57DCB6938FD1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4" creationId="{68E81E00-19D1-037C-C4E0-5A0605770512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5" creationId="{87D429E5-05A1-9736-466F-1F9A9743FE46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6" creationId="{EC3B8645-9E23-97A1-7585-BE4F421909A6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7" creationId="{E842AF37-09DB-3053-0249-B70B7374F622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8" creationId="{FE69FFC8-7444-AB31-82E1-522B264500D9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49" creationId="{D1927D0D-43CA-6D88-8762-BC0C3C5B01FA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0" creationId="{0AD62358-46FC-B1B5-2566-09B30A2AAAFB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1" creationId="{38645B30-ADC1-A2E5-C6C1-45CE1228488C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2" creationId="{F4AA6722-BEA7-CCFC-D617-56B7F3DFF8DB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3" creationId="{69066518-85DA-8322-3F29-38FCCFFE7A96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4" creationId="{C6866B2D-DF28-4613-926F-7E23C89FCB51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5" creationId="{61EC10D0-B4C5-448F-06A8-A5B52B113F60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6" creationId="{6CDD9E8B-84A5-7E60-B7F4-A015AD7A9AA8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7" creationId="{9DCDC47E-8F13-7CD8-29BA-10B4054A59F5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8" creationId="{0439F286-184E-0E1C-180A-1DEC37FEDF81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59" creationId="{503B10A8-FEE0-919B-A289-1D18B615F25D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0" creationId="{A9E30F04-C157-E1EB-52A1-D7CA8A4DDD99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1" creationId="{87E44FF5-4D18-AF26-39CC-3CD9F5A6101C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2" creationId="{3A56C00C-6EA0-D72F-A85A-1780F3837007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3" creationId="{654A511F-E46B-7A69-9E8E-7FA3C9DA2E7E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4" creationId="{C33A91CC-2B22-5D9D-5C3D-A596DC4B5EBC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5" creationId="{0526E5CB-FB64-4DEC-D1F5-7B0109D2FAB7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6" creationId="{30217686-340B-6545-C26E-F53DF490B0BF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7" creationId="{B14C32A9-8271-9EAE-BA6D-AE5625FB7362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8" creationId="{15550339-0CC7-307E-C674-871A4D8B223F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69" creationId="{185626E8-9C5A-FEA6-3756-AA540F3B8C05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70" creationId="{5D8F23E8-A295-9E21-3357-6145FA169CC9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71" creationId="{39F38537-6CBC-4B4E-8001-732A60693ADE}"/>
          </ac:picMkLst>
        </pc:picChg>
        <pc:picChg chg="add del mod">
          <ac:chgData name="Cimer Ádám" userId="8a923def-9a81-4ceb-8db9-424f2c16c007" providerId="ADAL" clId="{EBAB697D-D0C1-4C12-BAC8-A0BA9B60B910}" dt="2023-03-07T21:13:56.784" v="153" actId="478"/>
          <ac:picMkLst>
            <pc:docMk/>
            <pc:sldMk cId="214200205" sldId="259"/>
            <ac:picMk id="72" creationId="{50A8055A-406A-6F47-F44B-C32458098DAD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3" creationId="{A2BEF613-2C15-5982-CC97-A978604D8584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4" creationId="{EA79C518-F2E2-D0DD-AEBA-25D7F45D4B0B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5" creationId="{EF0544D9-2C50-88C6-9444-51880D941E0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6" creationId="{3E6201FC-7084-0EAA-72D2-011B935E5D2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7" creationId="{AB6D6787-D93F-22B1-B17B-4D21AEC63C1F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8" creationId="{F92C92DC-00B1-04DE-541B-15368C688FF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79" creationId="{1D925AB7-FE34-DC20-DDAB-D76BC9E9EEE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0" creationId="{AD5125E9-6B90-5D30-E881-7B2A633A8BE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1" creationId="{BAD7DECC-0948-31AC-C766-A547380D507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2" creationId="{87CACC9B-7D3C-B9A0-8A13-7CA44831533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3" creationId="{DB3D1BA3-D492-8B59-6570-99B44904F77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4" creationId="{EB10AFCA-2BC6-E43A-6AB1-5BBDB1842E06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5" creationId="{9421565C-9F6D-E01E-77E2-28438975A88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6" creationId="{7E69EFF2-5B3C-8286-49C1-4BEBD6E3B8E2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7" creationId="{E90B2357-1560-BA2F-9253-DE36C5B4340B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8" creationId="{23C51780-C009-3C8F-FDBE-EAF054C6E443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89" creationId="{3F13AC39-C0FE-AFE9-4535-688035CA0F01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0" creationId="{2E04737B-F95B-9D20-A141-DDEA761658D9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1" creationId="{2E8FFB5F-3A86-39F6-8FFE-42CD1ABE22F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2" creationId="{5CD90DC4-71A0-64B6-CE65-082317CA086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3" creationId="{D1750750-7294-BBBD-A293-593A2B977E1B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4" creationId="{E563585D-0436-55E8-70BA-EB9E1BE1DD9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5" creationId="{5E8B5A4F-0FA1-DAE2-36AC-F50F5149CAE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6" creationId="{81C3DB33-F6F5-4C4D-9047-D8B09E1C7A4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7" creationId="{F84C4893-071D-352F-2EF7-59D534A3CC34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8" creationId="{2CFAB0B1-37C0-8C92-080E-D737669FF67A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99" creationId="{F807AAFF-5C3C-9A40-6A2B-ED2DC22744E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0" creationId="{9DA99A83-CA64-B8A1-3D8E-BAFCBAF4B96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1" creationId="{2075A7CE-4B65-1C9A-E9DA-07FEB2366E0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2" creationId="{F4632DC1-26DF-35D4-185C-8C6693BBD1BF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3" creationId="{07D70833-99AE-4F42-ACDC-80AEC46C3CFB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4" creationId="{CA7C5551-15E7-9CCF-C447-A1EFD9BAD5C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5" creationId="{969DC351-77DF-94AC-2D3E-2E983D5A5FE6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6" creationId="{DD360B79-9A27-DD3D-FA8C-FD3BC4A43BB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7" creationId="{A598E749-619D-30F2-00A3-B90103A0A70B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8" creationId="{80A17CD3-8AF8-20ED-1AC9-DD4BED43204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09" creationId="{5DB28D51-2B97-925A-CEA0-25CABB0046AC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0" creationId="{FB3883CE-357F-CC91-75A8-65E83749516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1" creationId="{199E94B5-8D08-CA86-8F12-2D8BA0A49484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2" creationId="{D405326A-DB5A-FB6A-63B5-E067E72A8B5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3" creationId="{7E575796-9623-873C-4FA7-97BE518AFC11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4" creationId="{C80D9B30-4C7A-FBB6-F693-29BDBAE3624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5" creationId="{8F7ACCB7-4285-0323-4C63-01E3B4203BA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6" creationId="{CBBAD3DD-2A7A-8572-1283-9FCCFAFFB46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7" creationId="{B2A4EDE4-26F6-D0E0-99D4-49E205C09BB2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8" creationId="{16B5FB5F-ABE4-337C-A4A3-B49DD83A5CD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19" creationId="{62A7CBE5-E898-2447-CDD1-82180BD8AD03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0" creationId="{7DFD7C45-B0AE-FD76-7B37-2BE79A15140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1" creationId="{57C805ED-3B88-8638-BBC1-1926EF3E7E20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2" creationId="{7D480B7A-35B5-B7F0-DD49-530DBD3D6371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3" creationId="{851447A0-C0B3-601D-32F1-37FCB01311AA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4" creationId="{94EF84AA-7655-0D23-C420-2B9F7E6BF6E1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5" creationId="{73FA5CBE-1F08-FFEE-CE40-5803B66A219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6" creationId="{0F54B6F3-8899-B6B5-F92F-4154ED62CB3C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7" creationId="{08151684-A33E-AAAE-4FB8-1F696BBBECA7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8" creationId="{9C2CDD14-F097-1F8C-B529-27C8DAC68B02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29" creationId="{E2DF3115-8380-2988-E3EC-1C787924D3E9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0" creationId="{60215080-4241-4A15-2014-2F691EB3C144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1" creationId="{4E90009D-D506-9E19-A9D6-7B0E8D561D82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2" creationId="{D60CDBC9-1EB6-34BE-E308-76F478D45662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3" creationId="{030CDB0C-FB78-A8DB-26DE-6FF603B48DD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4" creationId="{3C7EF214-B02E-75A1-E1B4-18C4CA26A4EF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5" creationId="{D23F1BF7-CC1F-166F-0FA9-25A7506736C8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6" creationId="{4C20E1C6-A024-D48C-0178-03FCA25558BE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7" creationId="{02B1BDFA-C49D-1AAC-C0B8-811B62C2C5A5}"/>
          </ac:picMkLst>
        </pc:picChg>
        <pc:picChg chg="add mod">
          <ac:chgData name="Cimer Ádám" userId="8a923def-9a81-4ceb-8db9-424f2c16c007" providerId="ADAL" clId="{EBAB697D-D0C1-4C12-BAC8-A0BA9B60B910}" dt="2023-03-07T21:13:25.319" v="142"/>
          <ac:picMkLst>
            <pc:docMk/>
            <pc:sldMk cId="214200205" sldId="259"/>
            <ac:picMk id="138" creationId="{69C05430-C057-B159-B0CB-0E8056D08C6B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39" creationId="{B99D86F7-25E1-D37D-FC8F-786EAFD99957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0" creationId="{DE397433-558A-78C0-7DFD-22FBCEDA3610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1" creationId="{31BCF35E-2811-A6E1-679F-7ADB99BCCB5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2" creationId="{F9E77DFB-73C6-8D2A-B848-DCEECA05B01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3" creationId="{B2475CDB-7BB2-D23B-EC2E-64910A3B3CA7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4" creationId="{07DDFF46-B7E6-194E-83AE-661DE06B9F1A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5" creationId="{616D14D4-98B9-9C99-3DD8-1304E5D4CD70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6" creationId="{14942B50-788C-74BE-6814-69622CEF9FE3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7" creationId="{5110601D-9C3F-9D43-6C52-1AAB6B69DED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8" creationId="{93180C6B-2F62-FC16-755F-7511E6CD303D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49" creationId="{4167DD9B-1458-34DB-5600-57A8DDE2A54B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0" creationId="{4E5AE562-C530-60BB-1F20-28529E73CCED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1" creationId="{BAE2AFBF-F9BF-58F6-4A67-9103620DB5E0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2" creationId="{24EF6C12-22BE-4BD3-D6A7-54C6F4642047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3" creationId="{77C5058C-1E65-381F-2EBF-D3348D97DCAE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4" creationId="{0B1E9BA7-54CC-789A-9537-DC895A1F3E11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5" creationId="{8735AB1C-C13C-8528-4D6C-F8AF9BEB973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6" creationId="{74C1C2DA-3E7A-B134-3E9E-75AFFBD3678C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7" creationId="{25094340-4871-3E56-33B5-5797AD8AB523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8" creationId="{CC1BD6B0-ACCA-5997-8EDB-66250911D54A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59" creationId="{B9F02DEC-7B00-B570-830E-FBF3017645A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0" creationId="{A2C9AFF3-FFF9-259F-A46E-5B41986604C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1" creationId="{AC2CB675-9BD3-D447-C49B-7C73CF65C3FA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2" creationId="{95E775B7-5CDB-C3AB-E681-3382388AC25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3" creationId="{9C74776B-32CB-EB71-BAC6-24B787C581A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4" creationId="{34C35334-74E1-D830-5494-0538A07B3B4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5" creationId="{76703272-739D-1EC7-6FBC-8FBAD5C8C68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6" creationId="{767C7B9B-8F08-3991-18F4-33FD2F9D81F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7" creationId="{B6F28723-BA84-957C-5A7B-C76AB2B4B34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8" creationId="{CD2E3FF8-D7BE-A865-705E-3B5C86AB8C88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69" creationId="{10DE97C1-4F1D-088F-A297-2D29248DB95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0" creationId="{268064F7-A3C2-35F5-9149-4D6EB120EA58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1" creationId="{2EBCE146-C7DE-3597-4EB3-A268AE18CCA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2" creationId="{BE7F91CE-3DE3-9D1F-C831-628A9CC89D1C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3" creationId="{3421407A-F099-697E-E565-0DE3E9B67851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4" creationId="{495BD773-7356-95BE-75E7-FC514D4166B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5" creationId="{9419CF69-234E-83D8-F368-D88534E463AC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6" creationId="{68FC56F6-C4C7-043D-BB3A-E55599EE4E5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7" creationId="{265D6247-3C55-CF12-B7C3-2576AB7ECD0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8" creationId="{08C4F923-91AC-4901-B804-6ACC6454A65A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79" creationId="{F4031BD1-D922-C231-7944-310395B3016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0" creationId="{47628468-4CE6-3DA0-BCC8-A203300B6390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1" creationId="{CBD196FA-1201-5E26-7811-8AAF73AB3AB3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2" creationId="{B7F12C41-F7AF-A14A-8543-7612A159E4FE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3" creationId="{A6EDFC10-A6E7-1476-6838-362F53D704E4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4" creationId="{1CE50CD1-330E-4D20-290A-4D2C95B00990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5" creationId="{91D5C7CA-0CB3-BD54-1468-0BE2C1AF1182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6" creationId="{5CC52517-31F0-302D-A620-000DED15CAEB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7" creationId="{2F277C70-EF16-9CF6-0893-4B62F7070E12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8" creationId="{605A14EB-DA10-3C61-BB27-166D47558191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89" creationId="{F505AC04-712E-6A98-9CCE-A9470221046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0" creationId="{CDFD48DD-434E-0C05-ADFB-D7A767EFD4E2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1" creationId="{4084AAAF-D3ED-9A32-FB3C-F23B2FEA203C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2" creationId="{76B17598-471F-BF0E-073F-79A670B7FD1E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3" creationId="{874B3443-F7C3-80DE-1530-7B9D15F5B35F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4" creationId="{43C8FAB4-4310-9885-291A-A10500A5A06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5" creationId="{35DA563A-1286-0EF5-F5D2-F24584215F17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6" creationId="{54D79837-65CE-12BF-19EC-D1B2E83CC6D5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7" creationId="{072AB3CC-20F9-28E5-5BF5-E1A51258FCB6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8" creationId="{0404E947-BFA0-D77D-1ECE-E9212DF4D1C8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199" creationId="{E5773818-29F6-E6EC-7B91-D02D4F78B542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200" creationId="{253F3883-1A98-BFCD-7B3B-88ABA25CA25C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201" creationId="{263B07C7-E21E-D71C-7992-C97D74D8C63E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202" creationId="{82A3C53A-E0B9-254A-B227-5705FDB39E49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203" creationId="{93ECC05D-81C7-3335-4908-2DE25C256761}"/>
          </ac:picMkLst>
        </pc:picChg>
        <pc:picChg chg="add mod">
          <ac:chgData name="Cimer Ádám" userId="8a923def-9a81-4ceb-8db9-424f2c16c007" providerId="ADAL" clId="{EBAB697D-D0C1-4C12-BAC8-A0BA9B60B910}" dt="2023-03-07T21:13:43.798" v="146"/>
          <ac:picMkLst>
            <pc:docMk/>
            <pc:sldMk cId="214200205" sldId="259"/>
            <ac:picMk id="204" creationId="{FCDDE16D-0B49-E194-696A-BBC82FB49985}"/>
          </ac:picMkLst>
        </pc:picChg>
        <pc:picChg chg="add del mod">
          <ac:chgData name="Cimer Ádám" userId="8a923def-9a81-4ceb-8db9-424f2c16c007" providerId="ADAL" clId="{EBAB697D-D0C1-4C12-BAC8-A0BA9B60B910}" dt="2023-03-07T21:14:38.386" v="159" actId="478"/>
          <ac:picMkLst>
            <pc:docMk/>
            <pc:sldMk cId="214200205" sldId="259"/>
            <ac:picMk id="205" creationId="{E2A6396C-65DA-885F-CFB5-B045ED2D6205}"/>
          </ac:picMkLst>
        </pc:picChg>
        <pc:picChg chg="add del mod">
          <ac:chgData name="Cimer Ádám" userId="8a923def-9a81-4ceb-8db9-424f2c16c007" providerId="ADAL" clId="{EBAB697D-D0C1-4C12-BAC8-A0BA9B60B910}" dt="2023-03-07T21:15:13.663" v="163" actId="478"/>
          <ac:picMkLst>
            <pc:docMk/>
            <pc:sldMk cId="214200205" sldId="259"/>
            <ac:picMk id="206" creationId="{9DB08D3D-5FCF-13AC-A606-83A0EB6981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07" creationId="{6AB090D6-7B08-8D0A-ABBE-3050E7B9B616}"/>
          </ac:picMkLst>
        </pc:picChg>
        <pc:picChg chg="add del mod">
          <ac:chgData name="Cimer Ádám" userId="8a923def-9a81-4ceb-8db9-424f2c16c007" providerId="ADAL" clId="{EBAB697D-D0C1-4C12-BAC8-A0BA9B60B910}" dt="2023-03-07T21:15:14.481" v="164" actId="478"/>
          <ac:picMkLst>
            <pc:docMk/>
            <pc:sldMk cId="214200205" sldId="259"/>
            <ac:picMk id="208" creationId="{119C69F0-97E3-3585-C7EE-C139529A053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09" creationId="{BB7C8193-CD45-AB6A-05EC-A36E152C20F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10" creationId="{83383AD6-A60E-F90C-DC9B-DD98C72A69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11" creationId="{4955E441-C5EE-0450-BADE-4009B9BD7D03}"/>
          </ac:picMkLst>
        </pc:picChg>
        <pc:picChg chg="add del mod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212" creationId="{6C59839E-465B-B360-2A64-62CF3433B03A}"/>
          </ac:picMkLst>
        </pc:picChg>
        <pc:picChg chg="add del mod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213" creationId="{3E4245A5-BCC2-A92F-FB65-C4391072AD77}"/>
          </ac:picMkLst>
        </pc:picChg>
        <pc:picChg chg="add del mod">
          <ac:chgData name="Cimer Ádám" userId="8a923def-9a81-4ceb-8db9-424f2c16c007" providerId="ADAL" clId="{EBAB697D-D0C1-4C12-BAC8-A0BA9B60B910}" dt="2023-03-07T21:15:15.246" v="165" actId="478"/>
          <ac:picMkLst>
            <pc:docMk/>
            <pc:sldMk cId="214200205" sldId="259"/>
            <ac:picMk id="214" creationId="{38E7A0A9-68DD-6190-0BB4-BC0DBA32D7CE}"/>
          </ac:picMkLst>
        </pc:picChg>
        <pc:picChg chg="add del mod">
          <ac:chgData name="Cimer Ádám" userId="8a923def-9a81-4ceb-8db9-424f2c16c007" providerId="ADAL" clId="{EBAB697D-D0C1-4C12-BAC8-A0BA9B60B910}" dt="2023-03-07T21:14:40.322" v="161" actId="478"/>
          <ac:picMkLst>
            <pc:docMk/>
            <pc:sldMk cId="214200205" sldId="259"/>
            <ac:picMk id="215" creationId="{48435E1D-C8E8-F2B3-023C-B74F41C1F89F}"/>
          </ac:picMkLst>
        </pc:picChg>
        <pc:picChg chg="add del mod">
          <ac:chgData name="Cimer Ádám" userId="8a923def-9a81-4ceb-8db9-424f2c16c007" providerId="ADAL" clId="{EBAB697D-D0C1-4C12-BAC8-A0BA9B60B910}" dt="2023-03-07T21:14:41.193" v="162" actId="478"/>
          <ac:picMkLst>
            <pc:docMk/>
            <pc:sldMk cId="214200205" sldId="259"/>
            <ac:picMk id="216" creationId="{7A8B6F68-7B6A-CEC2-240E-D5EF73C5067C}"/>
          </ac:picMkLst>
        </pc:picChg>
        <pc:picChg chg="add del mod">
          <ac:chgData name="Cimer Ádám" userId="8a923def-9a81-4ceb-8db9-424f2c16c007" providerId="ADAL" clId="{EBAB697D-D0C1-4C12-BAC8-A0BA9B60B910}" dt="2023-03-07T21:14:39.273" v="160" actId="478"/>
          <ac:picMkLst>
            <pc:docMk/>
            <pc:sldMk cId="214200205" sldId="259"/>
            <ac:picMk id="217" creationId="{98CCB461-D190-8D2D-3718-B4AA14FF60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18" creationId="{4B787C87-9CE3-AAF4-1AA3-D7BDD108F50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19" creationId="{389B57DA-6C0C-8CAA-BB1F-76217E71470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0" creationId="{4C416D35-DBE4-3D59-0B45-8264BF6E975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1" creationId="{2F2FC422-ED28-CFD7-9C38-90BEDDB9CFB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2" creationId="{582F3E30-C6D4-072A-F7D2-3AEC7FF75C9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3" creationId="{67304B64-DB9B-3098-F084-B967B7C58A8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4" creationId="{9AAD8973-C723-E9C0-CE7E-FE48D098866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5" creationId="{A4179C61-EFA1-4251-CED0-306053285D1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6" creationId="{9ABF25AD-CFFF-75EC-6BBC-BB1A7FC92125}"/>
          </ac:picMkLst>
        </pc:picChg>
        <pc:picChg chg="add del mod">
          <ac:chgData name="Cimer Ádám" userId="8a923def-9a81-4ceb-8db9-424f2c16c007" providerId="ADAL" clId="{EBAB697D-D0C1-4C12-BAC8-A0BA9B60B910}" dt="2023-03-07T21:15:15.861" v="166" actId="478"/>
          <ac:picMkLst>
            <pc:docMk/>
            <pc:sldMk cId="214200205" sldId="259"/>
            <ac:picMk id="227" creationId="{E33052A9-77AC-3160-FA91-79D3B11A149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28" creationId="{D202719B-FFBD-731F-1AAF-91C0A01C49F5}"/>
          </ac:picMkLst>
        </pc:picChg>
        <pc:picChg chg="add del mod">
          <ac:chgData name="Cimer Ádám" userId="8a923def-9a81-4ceb-8db9-424f2c16c007" providerId="ADAL" clId="{EBAB697D-D0C1-4C12-BAC8-A0BA9B60B910}" dt="2023-03-07T21:15:16.866" v="167" actId="478"/>
          <ac:picMkLst>
            <pc:docMk/>
            <pc:sldMk cId="214200205" sldId="259"/>
            <ac:picMk id="229" creationId="{91C93839-83EA-572A-A3D0-304A459E1FA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0" creationId="{0ED6BF72-5F7E-762E-4AF1-6D1EAD010B5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1" creationId="{FA376037-FF2F-5724-7B15-9AC6913A359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2" creationId="{C9859555-4A8C-80EC-86BF-39FA210FAB63}"/>
          </ac:picMkLst>
        </pc:picChg>
        <pc:picChg chg="add del mod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233" creationId="{58331C1A-C17B-073A-34A1-3B7A70578701}"/>
          </ac:picMkLst>
        </pc:picChg>
        <pc:picChg chg="add del mod">
          <ac:chgData name="Cimer Ádám" userId="8a923def-9a81-4ceb-8db9-424f2c16c007" providerId="ADAL" clId="{EBAB697D-D0C1-4C12-BAC8-A0BA9B60B910}" dt="2023-03-07T21:18:24.578" v="192" actId="478"/>
          <ac:picMkLst>
            <pc:docMk/>
            <pc:sldMk cId="214200205" sldId="259"/>
            <ac:picMk id="234" creationId="{4A13033D-DC8B-6EC6-FA0A-CBE8D64C36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5" creationId="{8F783F51-CF1B-802F-63DA-EBB78E061A6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6" creationId="{36EA1793-ED02-B3C7-D465-3F38F97035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7" creationId="{2A0690AA-AD54-C4A0-F112-0D255A84C73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8" creationId="{5C8BA967-0CFA-E3D8-1DCD-2BFC637E31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39" creationId="{3942DDD6-5DF8-E975-FA61-A72302375A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0" creationId="{A570C870-7504-1D9E-81C5-0558AFDF064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1" creationId="{F2AA7F57-A1DB-5A28-C019-995D688033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2" creationId="{BE3FC024-38BE-96D0-2B6E-553EB9CFD7E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3" creationId="{ADF28304-B805-D0AF-19EC-79A6BD50AFB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4" creationId="{BDB1B7C2-573C-CE8F-34C3-020BF1CD833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5" creationId="{2F34EE4C-3A4F-D636-A667-DB786EEAA6C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6" creationId="{F5AAA1EE-93E2-FEDB-7562-F01420DB3CA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7" creationId="{1AE2EC22-7520-D7B3-2B65-FAD51A2F1C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8" creationId="{344D2FBF-E604-B5FA-E006-320B67A80B2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49" creationId="{DF495F77-8579-7DF3-E9C0-76A309BA6A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0" creationId="{2C69B369-45F7-C49E-B68B-9E0E3E837E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1" creationId="{0AC8871C-6FA8-35AD-D0B0-084DAFBEDFC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2" creationId="{2B6C8AED-C87C-1A6A-D129-D8F5D93E297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3" creationId="{249F5477-486F-DE44-EC31-8200EBD1DB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4" creationId="{C6F766AF-2290-D8D4-F767-0C7B9F183C5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5" creationId="{799ED372-A7A5-3160-1BDA-5E3EE53DA4B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6" creationId="{0555D20E-C0AE-C97B-2C56-5CD6BCA939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7" creationId="{515D9453-EAF5-4C66-9A35-D9A94577427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8" creationId="{78EA9A13-DF6B-5440-9D3C-9ABF7059918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59" creationId="{1FD6E97E-2704-5F0B-C8FB-4DFE4A7008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0" creationId="{06FBBC75-E309-AD1F-5202-EA75FE6489A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1" creationId="{2A5BEF6D-BBE9-D462-6C2B-7DA479CA14C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2" creationId="{84D1FBB9-3FE4-32B9-9FA9-91AB9803949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3" creationId="{68813ED6-E5FF-0082-AE6C-FD92802E42D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4" creationId="{CE91F08F-015C-0500-D6EA-A9651FA0AC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5" creationId="{96E25DB5-6345-FA7C-1DED-52FECF92190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6" creationId="{8CAD772A-44EA-02A5-606A-D971F1C037A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7" creationId="{98C2DBAD-93D5-FE9A-8327-806EA4E3D8B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8" creationId="{C7F85B73-1ADF-596D-7EB9-6F81B97C624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69" creationId="{6B619B29-3642-4D73-9ED0-096E1B5C4B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0" creationId="{1F4071EC-77B3-F35B-8DF9-88FE18DE716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1" creationId="{0E33F243-EE6D-18FE-9F61-911441C61E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2" creationId="{B6662724-3EEC-DB10-1583-B299A5F849E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3" creationId="{00753733-B38D-F13E-C737-EB15D611D87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4" creationId="{1E28E426-D14F-9FC1-08F8-499769DA889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5" creationId="{161B9504-54BA-A496-6AFC-C0072BE1D47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6" creationId="{241984F9-2005-350A-C41B-320316950F1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7" creationId="{4F4A9345-744B-206C-9EC3-BE088905D6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8" creationId="{566AEA80-E237-D5C6-94A9-0F59A17E21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79" creationId="{CF2EA989-42AD-3CFD-6093-D91CCEBB448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0" creationId="{883BB911-B568-1AD1-C573-6FC696CFE2C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1" creationId="{CD3F1FB8-8FF0-E14D-552E-1FE621D2FA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2" creationId="{A9EEE8C2-7EAA-C186-FCD0-654BD152163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3" creationId="{1B2B2666-8E01-9556-CD86-32AFB13A7C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4" creationId="{D06A5D65-06E6-97F3-C186-177C2B3C072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5" creationId="{1EC4D944-2479-AED2-D774-57B4A7DFB64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6" creationId="{E3FF1502-1339-5922-D18E-99A646C97A9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7" creationId="{646C45D3-2C6A-1659-BB61-A63EE30928C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8" creationId="{0EBED5AC-3C55-9A60-3C37-2F8CD3794A3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89" creationId="{292AB01D-5CCF-79F2-1BF8-C2783C9EF0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0" creationId="{2694E164-DCB8-5973-7ABA-2BF6C9CC57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1" creationId="{4213FA70-6C98-1306-A029-00844D60D6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2" creationId="{5423EC93-4607-E8F8-E5F2-30F73C1ED7D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3" creationId="{FBABEFDE-E94A-4650-9DB7-FC8C2F355F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4" creationId="{2EDD2DDD-6C26-60F8-5B60-A6C84151E9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5" creationId="{AF3E2CA6-5E3A-AB1B-75C1-8216B46D143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6" creationId="{982627A8-4DCA-8C6C-4DA0-D7EFD7B2D42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7" creationId="{2496EF74-286E-4629-1887-B8B852BEEF6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8" creationId="{A7108731-0C43-4D2E-D61C-313F643C2A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299" creationId="{E9BAFB6E-8CC4-C2EC-4220-FDFDD8E7CB0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0" creationId="{0BEF8B7B-C78A-39A6-3E5F-98A20A68F13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1" creationId="{1CC1EC9F-BDBB-907B-F035-CBF43ADA677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2" creationId="{D8F9FE0D-0743-49F6-AF8D-A71794EEF0B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3" creationId="{FF6C40D9-02B0-5FE4-3C51-6A21C2AF3F9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4" creationId="{C100E459-A22C-78A6-994F-2E32EFE12E3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5" creationId="{757E6FDF-FC48-3170-2C15-9C73A71EC8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6" creationId="{88A0A6AF-A157-84D0-1796-6B66CCDFC75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7" creationId="{D7C71FD1-3F28-AD40-247D-ACA8BE7A42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8" creationId="{C6E585E2-E660-EA19-6B38-8C01B2A26B6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09" creationId="{36DA7956-2FD9-265D-776B-3E5596FFBC4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0" creationId="{F579F68D-0D9A-5A40-815B-2D6BB2CC94E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1" creationId="{016255BE-87A0-FF18-C5F0-52B96E2C714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2" creationId="{75075043-D47F-9BF0-8A9F-C86982EBC5C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3" creationId="{EBFF61EB-BF27-F4BB-C93E-FB0B50A9F0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4" creationId="{08D4FBC2-A1F7-9FD5-21F3-31A0F1DAD79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5" creationId="{8F357545-4F9D-35A3-EA6C-697C1233340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6" creationId="{13DC41D9-2D82-35B7-CB20-0B9F2F5B2D7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7" creationId="{0B071F6B-20E6-FAF5-18E2-C32DCABE85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8" creationId="{28184E89-2B2E-C908-555E-CC987351F74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19" creationId="{562AC72D-95FC-1AA9-923D-CD48CD19B5A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0" creationId="{B60D884B-1F6B-3A42-3E69-583FC0C5C89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1" creationId="{9D6014D7-1804-63E1-BAEB-FED412ED0B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2" creationId="{EA895C57-F3E1-0D34-E5A9-267770AC58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3" creationId="{14D6B079-9E79-D45B-673D-04FE79A0B1F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4" creationId="{4C43E033-691B-C187-85B8-77E4EAAD06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5" creationId="{2B808F18-C487-8889-CFC1-C533E51F6D1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6" creationId="{22464D83-C4EA-312F-3852-D4B4008F54A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7" creationId="{11C38AEF-23D7-C6C7-2A96-CC8CB4FF8E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8" creationId="{976663CC-FDF5-ADD3-14C6-64ED2441254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29" creationId="{5C4E06E7-AD56-38A5-5624-794A47F667C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0" creationId="{449E94C4-13E9-28E1-6B20-4D3B6C4B81E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1" creationId="{43F3DFE4-6FB7-6B78-E2AD-12016FB3EF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2" creationId="{2061D890-F598-D661-035A-920311EA185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3" creationId="{18350348-4D0B-A3E2-151D-B81B912F172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4" creationId="{520F1446-3622-59BD-38D6-7F9EC715F08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5" creationId="{3F7B720C-B7E7-206E-4322-21B05515C9F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6" creationId="{97FA8AEC-586D-D549-1F29-D5DC5191687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7" creationId="{92E21897-2B42-64CC-6DA6-96517B01A35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8" creationId="{711AC487-E16D-A46B-1E6D-2C0D356B3B8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39" creationId="{66D208BB-21F8-62F0-60E6-A5E7ED3232D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0" creationId="{872B7B10-C200-0E43-791B-AA44DD7180B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1" creationId="{82FF4F31-6661-749C-0F1E-C073AAB9563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2" creationId="{002F1437-D014-7174-D51E-D3798AC1F1C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3" creationId="{0C5A69E2-BB59-C989-2EAD-D04034087CB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4" creationId="{964A5764-053E-B573-8F21-771344CBDC7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5" creationId="{6BCCB48E-1B95-1621-8EEF-9B55EF88E0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6" creationId="{F27C57E8-94EB-18EF-5D38-CBE83420F8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7" creationId="{C8AD65AE-67E3-79A8-445F-5348104141D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8" creationId="{AD0107BC-3CC4-B1B8-B1DD-5A2848E3D47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49" creationId="{3E40A466-48D7-D793-6E00-599FBD0DA9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0" creationId="{277D506B-EA0B-7E3D-3DCA-192EB9B3829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1" creationId="{5A5F9C64-D87A-DBC1-7C71-B02C7740D2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2" creationId="{7CB82DC4-77E5-98AE-0391-813906D2E70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3" creationId="{124B3BBF-BB1C-900B-433D-10953D03C75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4" creationId="{657D95AF-D531-0036-D56A-261E4FECFF9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5" creationId="{31A0FFBB-446F-9FED-4F2D-CFB39A08270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6" creationId="{90B417E6-E414-07AD-1BF8-68954AA12D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7" creationId="{D1DE066F-9B42-5DE6-5833-E9928AF7C9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8" creationId="{7116ABBD-AEA3-A8D3-FE47-C77ED0AE5F0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59" creationId="{08C6BD51-74BC-A297-CA4D-99419EAC060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0" creationId="{FAA1E727-3F79-03A5-E31C-16F14A5985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1" creationId="{611619A4-40E8-B7AD-E34F-EDBCCE3AD7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2" creationId="{280A9A45-1B07-B484-5240-8009C6FD6CB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3" creationId="{A56F8350-BF18-6570-4E79-20184911A6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4" creationId="{CBD7378E-738A-A3A2-DBC6-8B43282CEAF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5" creationId="{47401D81-5C06-5BEC-1C7E-C491A624D1B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6" creationId="{53F7EE60-1007-D8A3-F1A0-E5CAB1A90AF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7" creationId="{1FE95C09-242B-56DB-FB3B-87B86A09340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8" creationId="{4CBD2035-E3AC-BC4E-7FB1-17872951005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69" creationId="{E693C9B6-E979-405D-CDA9-D1616EA2260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0" creationId="{59CBE0DE-C79D-D3F5-8686-7B5DA230AE1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1" creationId="{F55F43F4-0DD9-0820-35E6-2E398FB25FF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2" creationId="{E69F7F7D-A7B4-45BC-58DE-D332EFA8A8F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3" creationId="{865D4C17-D066-9CBD-703E-D7C9DFE4692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4" creationId="{F162D88B-B7E1-91D4-D6C4-1257AB4E511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5" creationId="{6C0007DF-80ED-C234-19B9-AD2F2C9EA4C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6" creationId="{7E62FBE3-971C-6AE3-9F57-8BF4FC4692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7" creationId="{92631F45-24EC-B074-0D9C-0EE41C2FF2F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8" creationId="{EFC4F867-7B19-3BA7-2ADB-EC8C5A1437B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79" creationId="{DD1BE4AA-4E0E-AD51-F8E8-E28F757E68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0" creationId="{D3295DF7-5152-4E0C-9B62-0EF578D27BB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1" creationId="{ADEC91FA-396B-7CB2-C030-4F10DFCD8A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2" creationId="{A61584AF-BD21-F7BB-0543-283DF2916C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3" creationId="{5BECB48D-08EB-5215-EA87-C711E78CC0A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4" creationId="{A7D8C89F-5ADA-7F3F-B219-81A21EEA088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5" creationId="{59EB14A1-E9D9-D0EB-78FC-6DB305F2C62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6" creationId="{C52F9F3C-3256-7693-7236-6DD945367CC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7" creationId="{AEF27945-AEDD-FF3F-AF4F-2ED5D068E85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8" creationId="{6D08897F-1720-5436-B53B-C143C945C1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89" creationId="{ABCF4998-31C1-EDE9-F8C8-008CA533D83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0" creationId="{17812E4E-C715-21E4-61D4-8F0B29EFF3C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1" creationId="{45F23212-CA88-0754-C053-74561FA383C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2" creationId="{D4482503-D76B-937E-A700-DA3A3E15109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3" creationId="{AE1E914B-C27C-7E19-EF55-D71E0313B57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4" creationId="{91AAB1DB-4868-4D0D-E176-1F2F39CECB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5" creationId="{3253E1C3-9B46-B85B-C0EB-8132F30DA7D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6" creationId="{5CB64404-6590-ED4F-F085-AA6D823EFCE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7" creationId="{F5B0CF83-F559-22B0-6328-4EA62368DE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8" creationId="{69E8140C-591E-85E6-698C-FE6C7CBBB6C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399" creationId="{2F5AF5DA-AD03-FC95-00F3-C45701ADA1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0" creationId="{9B947567-6934-F882-1532-CBED8FB13AD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1" creationId="{EB1BA631-671D-E177-7F8B-63542107A9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2" creationId="{5DFFDA3A-B500-1BE6-0667-2A4E13FFB9B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3" creationId="{481088D7-10F0-ACFA-55B9-A9224D6A420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4" creationId="{776F9EAF-4B9A-958C-5229-BD67541B75E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5" creationId="{F43BBA24-8461-05EB-E429-5BFBD1C874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6" creationId="{097FB3CA-AD51-2C98-E429-1A1B4E86D42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7" creationId="{112E2FF7-7888-794D-3F91-B848EE90F96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8" creationId="{8D929237-29E4-CEB0-3265-C90FDF7A355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09" creationId="{E3FE55B4-6E2E-2C81-39DE-E9761F849A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0" creationId="{E5536886-3C5C-B6D7-0CF1-FD40F0F38B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1" creationId="{0A98F362-99FA-320E-A465-4A23534F1E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2" creationId="{36E8C4B2-F833-1297-951C-728E29C5450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3" creationId="{5E34B621-3654-0E57-0D22-5C2FCBBC69C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4" creationId="{F45C78F9-9D73-AD40-3C1F-E7062B69851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5" creationId="{F0C6EDE9-6B0D-468C-B268-F001F370620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6" creationId="{A5C865A2-5500-61BB-691E-C435EEA35F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7" creationId="{3434E7A4-F6E9-7565-85DE-5A260F59E6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8" creationId="{4D4B9593-31CC-6EA2-5C0A-ED9E9ED274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19" creationId="{A63EC126-A501-1E04-1E67-6FE9EE50189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0" creationId="{3467FB47-0D0F-93AE-13D6-379489FB17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1" creationId="{82B605C7-5D2B-1342-AE02-24B863523A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2" creationId="{7E7C66D6-51EC-2D09-7706-36DAB0E81FD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3" creationId="{9EDE5029-7EB4-B411-D494-11CC41CBFCB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4" creationId="{21A989DB-EA74-1A8C-0FEA-4A181E5857D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5" creationId="{5BA80264-BE72-2129-A80E-89AB5303791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6" creationId="{07563D92-FFD0-864D-F9F9-BCA49927EE2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7" creationId="{6579EE55-43A0-2701-B16D-B00EECFB7C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8" creationId="{FAB9A77C-B210-27BF-E270-AC121735DF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29" creationId="{72BB2991-3527-E293-0110-BE95E3278F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0" creationId="{8107C624-92CD-D9AC-CD5F-01A282706CA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1" creationId="{CE21C197-CDB8-01B9-2F73-AEC1B0C02E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2" creationId="{538E3AA9-025C-FD8F-17A9-A8EF9C691EA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3" creationId="{D8F2389A-7B91-BF87-4B26-3D96CD100D8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4" creationId="{3ABCB563-E8A9-7FDB-C56C-356DD09727F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5" creationId="{924ACA27-BA2A-6BC7-9A91-7E2E5B614A1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6" creationId="{88080691-094C-0B4B-60FC-14A8D4078B2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7" creationId="{D8BE22EE-45CD-1B59-7467-FDE21AA5CE1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8" creationId="{14975D56-B3FE-1149-055E-60C146B6C53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39" creationId="{216697D5-A715-47BC-4ADC-BEE9EAD9113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0" creationId="{4E95C56D-5CE9-0098-B4FC-D7CD3A6B590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1" creationId="{9FD7D5AB-CB34-3936-22CA-CCCC7D04C11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2" creationId="{B32014A3-D1BF-E70F-04B9-3B9ED451E55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3" creationId="{A6C3EE88-23FF-51A0-831E-6164784C668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4" creationId="{EBBE10CE-5833-0B24-B9B9-D45AACC06BD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5" creationId="{4A2AFCF2-F4C2-F1AD-45A8-996ABFA23FC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6" creationId="{510F5503-FA56-A2C5-E247-6849A196030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7" creationId="{2A0C192A-893F-30BF-ACD3-BA102CB2542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8" creationId="{CB693814-3859-773A-ACBD-E566F8ABA42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49" creationId="{88D1E638-0300-7126-3157-518D72E7AE6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0" creationId="{F7E07925-3833-4E79-C072-264F187F272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1" creationId="{1A570F70-E323-A921-E068-21A196513E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2" creationId="{34CD86AE-770E-FDF8-C848-E989A229DE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3" creationId="{C503B51D-0328-8FEC-1524-00C85E843EE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4" creationId="{E5C033E7-1E4F-3D58-5E77-8CEBEFA2176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5" creationId="{7185FE3A-635E-CC4A-7111-485A76436D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6" creationId="{9946F50A-97DE-0484-0FAD-BC446BC9797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7" creationId="{30D2DB6F-E9C4-B681-C8A4-6BBE621D7E8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8" creationId="{AF3DBE9E-B5CD-833C-E649-B296B8B78BF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59" creationId="{0432F1F5-6944-5593-A268-14AB5C5EF0E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0" creationId="{00ECDDCC-39C3-A79F-1816-CC2DEEF0DE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1" creationId="{F9027937-1D13-28CC-3891-D9494DC88A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2" creationId="{2E43D6D6-7122-2F00-CCC0-55ADDE4584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3" creationId="{3D7AC0F6-9D40-D2A4-58B9-C1B5963B226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4" creationId="{FEE338BB-8B3C-2807-54F6-449176A4AB8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5" creationId="{3613ECB6-0317-EFB1-400D-88DCF5B9833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6" creationId="{89319E9C-88EA-89A7-2EAB-4C1820B3F4A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7" creationId="{2463F132-7B26-C696-C203-3E4A7C9DD67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8" creationId="{8E15D19D-F9B8-8AA1-70F6-2EF835C6A75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69" creationId="{BF534BA6-A6E2-7DE7-83BB-8835F359C78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0" creationId="{F52C7A4C-A216-86CB-1A29-B328624C326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1" creationId="{EF4AEFDE-D2F9-258D-C977-5F0378D84EF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2" creationId="{0A1A0D91-52BC-A17C-DE1D-4B2A32F741F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3" creationId="{E97DD67F-7283-80C0-A381-203A8F61C2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4" creationId="{EDD2EEBD-77D6-635C-1BA5-1A730E3DB65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5" creationId="{C9CF5623-0F0E-F195-36FD-A74F85C6C27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6" creationId="{A589BEB5-C546-123C-ED26-FBB59BF1C06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7" creationId="{899445EB-2FCA-10EC-26F9-1E35DC213B8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8" creationId="{CEEB1025-8529-8617-6103-25909845C1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79" creationId="{EE33A75A-D178-2857-EB76-44628D6247A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0" creationId="{4787BEF7-56CB-97A3-3702-7E7E12DE3A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1" creationId="{5E194D8A-8983-7543-7F90-42BE261A325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2" creationId="{5E4A6317-1C66-EDED-676A-BC366F16845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3" creationId="{E974CDE8-829A-9E6B-42AB-74993C01B1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4" creationId="{A3DDC9FB-5A94-5EA0-2E69-1211949D25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5" creationId="{D59F3E4A-8F58-A0AF-FD60-656434BD760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6" creationId="{3AE5AB98-8C7C-00E3-3FF0-1CC285FAAA8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7" creationId="{D27086D4-3691-09E3-C4AD-FA522E637BD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8" creationId="{2D025747-327C-AC29-F4C7-42C9D02F464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89" creationId="{FA708F08-B841-5114-795E-1083887342C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0" creationId="{65440DCD-04C3-855D-8BEA-480CCFCA1ED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1" creationId="{481808A9-EEC1-86C2-78F4-05B65FCABB8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2" creationId="{6D489E05-8AD8-627E-B11B-23B350219B7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3" creationId="{950D4A08-F49A-F8BB-B204-C0FAB5F7696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4" creationId="{87C1233C-8369-33AF-BCE1-5A54C831F2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5" creationId="{AE174173-CC31-4DCE-5D1B-083CF63C61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6" creationId="{6A70784F-429D-0362-A0AD-CEFAF3ACDDB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7" creationId="{7AE92580-EF9C-187E-5348-BFD4B8DD7FC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8" creationId="{36992742-E393-5DB0-0F24-A7F8C1F4975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499" creationId="{BA879E1E-23D4-B8F6-F38B-064CA22B6F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0" creationId="{1C92236C-EE6A-ED5D-632A-856D1496D3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1" creationId="{43BAC54F-4AC5-FB8D-52E2-FFCF46A2C53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2" creationId="{33409E89-4990-942C-84FA-037960B43C9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3" creationId="{51DF7B31-130F-5CE9-669A-EBC8D06FBD0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4" creationId="{6324231C-9415-535C-1F63-F311E349397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5" creationId="{D6EB83B5-1076-40E3-940C-B7EAE226B9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6" creationId="{27AA36BA-3A68-C55A-6F3C-1D2D9219BAD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7" creationId="{71115E4C-BA5B-BE07-BA5D-71C5903932C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8" creationId="{7FF700FE-E0DA-51EC-FFD8-78871C9C456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09" creationId="{1317120C-F242-68A1-0893-220877F927E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0" creationId="{600AD722-64F4-59C8-4440-EDD4AAF2AD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1" creationId="{F9FC47CD-EB76-6816-EA35-5C36008F80F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2" creationId="{E409008D-A1A4-AA26-3976-BE25C70EDED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3" creationId="{583FBD07-6D2E-D119-EB05-42918403DE4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4" creationId="{775F3991-F6DB-CB6A-4A36-423814A8E86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5" creationId="{7D83C8F2-ACC7-334F-148A-774F77232C7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6" creationId="{70D06B09-F845-CB04-64D4-E91A4A9DB51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7" creationId="{3C8F0F1F-8260-A528-4C87-2E32D45123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8" creationId="{0D212D47-0C10-67E6-F949-F523E64884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19" creationId="{C2CE532D-D0AC-BFE1-F7DB-D7E5B64D57F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0" creationId="{1A893FB9-BC15-0FD9-5AF2-A6AFEE60D0E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1" creationId="{801E361E-BDF8-8D52-A099-F05F59E6C9B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2" creationId="{B3DCA770-8D6A-E88D-37CD-A5C3C373A64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3" creationId="{042725AC-0412-9A77-CDAC-3A3E3AF1D42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4" creationId="{DFD098E3-9768-22A2-D013-6F64019D92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5" creationId="{281EBEFF-075F-67A6-068C-E8DF65192D9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6" creationId="{2A1C9FE7-BCE4-BD22-76D4-4EA9885F4BA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7" creationId="{0BE8E037-5876-4F20-DB12-935942BFE1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8" creationId="{B1291C59-5FDC-B5A9-2C5C-8DE2523410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29" creationId="{059744B4-D36E-6B4F-FA2B-F904BF151C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0" creationId="{C76D7F2B-CF7F-BC23-052C-CD58CDAA79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1" creationId="{1275BA9F-36BB-7CDC-5E4B-DA0AE4ADF38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2" creationId="{FB305046-891D-AEA2-C764-7368A7D9F08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3" creationId="{CE998BCF-1E28-52BB-97BD-605CF28F7F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4" creationId="{ED006081-5718-A46A-1719-89DA0B5778A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5" creationId="{C1675F4A-DDFF-A2FE-EAE1-3F86C71F4ED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6" creationId="{A0E75F6E-7EF1-D395-BA4C-BF9C20EB16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7" creationId="{7F0A4DD0-5F54-A21D-68C1-47ED93B0891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8" creationId="{798B8EC1-C9CE-4B9F-2C52-87AE9CEAE28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39" creationId="{84B69D76-60F4-5A49-3737-F824CBEF18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0" creationId="{6D3449FA-AD1B-9B40-7B7E-B0CE709F8E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1" creationId="{5D3F4CD2-2FD8-26DA-0D25-2CA9FD71EE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2" creationId="{25325FB5-6130-6588-A1A6-A7025E234E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3" creationId="{DFE41AF6-B2E9-47A6-783F-EDC25BF038A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4" creationId="{AE70337A-5C54-EE97-11D2-8F1B4081F61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5" creationId="{320CCEF3-B7E0-D5BA-CA11-E2D1A6AA17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6" creationId="{57400964-3768-73CF-40A7-D036C28BEE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7" creationId="{BA46A98A-9AF3-F3B3-1FD3-079145D6E08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8" creationId="{48B19FCE-3F44-A52E-DF98-CC1460C074F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49" creationId="{EE902E0B-6964-5524-3D7E-831B2EAC47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0" creationId="{EAA49E4C-AFC0-2EE1-ADA1-E0B3ED363ED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1" creationId="{A31F3201-F08E-7100-976D-AA457E470D8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2" creationId="{297DEF72-3B21-8D67-005D-9C6EBA0D24B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3" creationId="{7724CEA5-E433-F6DD-B90F-6618B7F96AA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4" creationId="{22124EA5-48A6-7EF4-AC11-A2D03B25864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5" creationId="{59D84182-CBC3-1721-00E5-EDB414C4753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6" creationId="{93E2AFDF-9A0B-53DD-EEDF-53A68015063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7" creationId="{6A07C7CA-BA08-56F2-F293-6470A0E6AC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8" creationId="{298B1474-2A20-F3DA-CFAB-B2A7C1BB60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59" creationId="{0DF2E413-6F54-EB28-D4CC-3D79920B11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0" creationId="{BD4BF267-EEA1-6D1F-8160-1C943C4F31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1" creationId="{7004BC00-4E8A-A210-41B4-8ADC5FBA7FB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2" creationId="{5E410D30-D333-9B03-5DEA-DA82B4CE058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3" creationId="{9800F2E5-0271-B766-6EA2-EED03EB1356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4" creationId="{692CEB75-E1C7-A9BC-CAAE-AA4C6D96157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5" creationId="{1338D83C-A221-9C97-DCA5-BE17400F1B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6" creationId="{442535D6-B349-0D80-A3A5-61AAE3886E3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7" creationId="{7C94E722-664C-3EA4-FBA2-1FC8B07A2B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8" creationId="{E57B2C80-01CA-9EE8-544F-E2371DA7217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69" creationId="{2DB4C304-C381-C9C9-96B7-7B6C6EB2F95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0" creationId="{EE068B82-CBB7-0BD2-F106-47E5BF70407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1" creationId="{E8A661A9-B926-88F5-4676-427BEC842E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2" creationId="{E184E6E4-E943-9628-7325-61CD2C92D57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3" creationId="{B0FFBDAA-F3BE-C272-224E-6E20D15AEA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4" creationId="{2A66342A-6920-4C6E-CB4D-0E1509699B7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5" creationId="{063C3B5D-CAE0-A2FA-4A85-131B8DB41A2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6" creationId="{59912021-E6C9-DEBE-3A8A-788C7192ED6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7" creationId="{1F511FAB-1AB9-5D44-7A2F-817A54B0DEE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8" creationId="{C8CB60F3-31C4-EC46-C498-147DA23AAD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79" creationId="{8473219A-3B16-DA43-9678-047742BF775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0" creationId="{660EE365-F347-2F17-7A74-1BA951AAAC4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1" creationId="{89345C73-43CF-F073-485F-FBCDA2F22FE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2" creationId="{1CDF1D73-0CC5-A616-A0A1-23406CA39CA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3" creationId="{B4C8E9DB-328F-64B8-B320-B1184524F8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4" creationId="{CAC9E9C1-040E-E1E1-5224-FBBD5944E7E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5" creationId="{6B9F8B0F-B2D5-719D-54D2-27625590F9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6" creationId="{1FFE260E-FEC8-3200-98BD-69B0ADB1F1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7" creationId="{0E23BF31-9D9C-1868-F8B5-87E9186C865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8" creationId="{5E7271E5-50B6-9C93-63DA-5C674CD782B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89" creationId="{BF391148-0ECE-8DCB-6B5D-0BFCAAEB4B9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0" creationId="{FE8DBDF0-D8C6-1AA3-BE43-FC8C09869FC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1" creationId="{7E3EF4C0-D0B8-4218-E3F4-E6F29A9CA1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2" creationId="{1A9C5EB5-343A-1D0E-A5A7-ECFF966EFBF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3" creationId="{BD1F23DC-F6B1-EF89-42D7-073F86A97E3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4" creationId="{2EA52231-3E29-2EFC-E30E-823FF68F13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5" creationId="{9F883B84-FA7E-4560-8E2B-B1DC6072EA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6" creationId="{AD5766B2-3B2F-859B-B852-CCDED174BA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7" creationId="{FF282196-11DD-8A24-1444-4C9D4A9A97A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8" creationId="{6F021571-08DF-37FE-AD13-77F023FABB2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599" creationId="{77E1E943-1714-07A7-A6D8-2FCE1A74BA0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0" creationId="{D3919900-B55F-6204-C6B8-929ECEFAE0F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1" creationId="{83F58C95-E26E-B84B-1296-47963ED23E8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2" creationId="{8B5800C2-A911-00F4-F433-17F41C9C941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3" creationId="{A1D725A5-20C0-4748-5AE4-F3E549BDDDC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4" creationId="{6AED0158-3824-9DE6-ADAB-7EB05D81383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5" creationId="{01263574-5348-CCF2-2246-1FDA51C8F6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6" creationId="{0504AB0F-3692-FA9F-A59E-976FB85CDC3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7" creationId="{C4863AF9-3215-209A-F79F-5E42EA1809A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8" creationId="{5AE283A9-759D-D331-D47C-6D3D954149A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09" creationId="{9B4C2CE4-40FC-5529-967A-2482E4E2A72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0" creationId="{E28500AF-5ED3-3DCA-4356-D09619C6A91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1" creationId="{6DDAC598-6E56-07A0-FC66-060BA21D29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2" creationId="{8FDDF4FE-495A-EBDC-5FD7-2E023CD9A5F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3" creationId="{7214BE5A-97E6-924A-EBF7-D329CA48979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4" creationId="{7F8CE526-43CB-00D7-6F79-50DC129071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5" creationId="{BF84AA0E-A6E5-68C0-D1CE-E0856A53CC7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6" creationId="{81720F05-8492-32BF-C96D-2908A3B0871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7" creationId="{5FB39009-21AB-CA2B-B92F-A95EA735A34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8" creationId="{C1FA7BE8-F859-A9A2-D784-17D6CFB2F78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19" creationId="{955E54E5-434A-03B1-0D5C-05AB6D2C4A6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0" creationId="{D2F73D4D-1F00-8CBA-69DD-0D4631D671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1" creationId="{7058C580-634A-A4E4-E3FE-06D83CA03C6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2" creationId="{8DECD067-4AB8-80CD-0586-8A6B0825944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3" creationId="{85704E89-2AF8-4EA1-4C21-B1824B1820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4" creationId="{4BAE4E41-D2FE-E09D-AC2D-13BADDE0595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5" creationId="{D8460786-91C0-2566-6247-13331E729D9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6" creationId="{9D2A12B6-C6AE-8E5F-D812-14BE007F500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7" creationId="{7C539C57-C851-C285-D1FC-8EC6B902E8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8" creationId="{28159AFC-8CDB-EDE1-68E5-C5719CB96A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29" creationId="{A7F9DF09-8649-6DC1-3C34-784D97A897A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0" creationId="{C4331444-2A70-3507-0DB7-0336A5C5E6A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1" creationId="{5C0F48C8-9836-1B30-3EE3-A7A57B5B1B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2" creationId="{10D13B48-3BD0-B338-B174-65AFFA584ED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3" creationId="{9B0FAE88-92BA-9D3E-D39A-0BA5D7582E8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4" creationId="{EE678DCA-A02E-1B32-3500-30E45193D6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5" creationId="{E9D35043-07A7-D0E4-7211-A45C5530E3D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6" creationId="{70E54410-00C4-570B-DA55-F9BE2A9B38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7" creationId="{838E8E98-0320-8C30-5F9E-69AFDC32F21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8" creationId="{817C77FE-ABEF-9DAD-F799-A19A24920C5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39" creationId="{296D9A77-73E1-F2A8-6106-C09A90C658E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0" creationId="{2DD612FC-50FB-4713-AECB-B4E4B97C10B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1" creationId="{CBAF0A14-1A4A-2A1D-F976-D653ECDCEC7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2" creationId="{7C55CE65-083B-789F-3293-B761B069AA9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3" creationId="{51B8339D-065C-2ACC-ED7A-D1133A09882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4" creationId="{6C2EE9DA-8ACC-EE4C-4787-33346F99EF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5" creationId="{E17938B8-AE3D-9AEE-AC75-F657B2ADBB8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6" creationId="{81CE72C4-82CA-874B-2F14-2784840EB8C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7" creationId="{BEC3BF4E-FDAE-97E9-4093-9E55A61005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8" creationId="{D0EB8958-CEE9-3BFB-CDE8-E3F136C4417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49" creationId="{5EA74CAB-24F3-83C9-21BC-793B81D5EA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0" creationId="{928B6C4E-DC6A-13A4-854C-1E7729D9578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1" creationId="{E2533455-CFE4-331E-DD46-2CB5917AECF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2" creationId="{828E0528-161B-17E5-9ECB-F56C3D2DD24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3" creationId="{9B4F6646-22AE-EC81-87D4-4D8BB565970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4" creationId="{8B7FBD67-2375-16A4-06F5-715D3CC9303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5" creationId="{F5E6BA66-0BAE-1D55-73D4-C6EEEFA5881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6" creationId="{3B4998B8-46C6-9F5B-A20A-DF2031D6672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7" creationId="{9363DD39-D186-988C-C695-C4DEC22320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8" creationId="{812E3030-3765-59F0-DD86-727CC8F12B0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59" creationId="{E4C69CBE-2CBD-4FAD-99E5-C4C432ED672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0" creationId="{D1237381-98E7-5AAC-B78B-8E522D12B40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1" creationId="{35738BD0-BE44-F38A-7C33-798E9BF1E5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2" creationId="{374A1507-31B3-C93C-401C-5AE046B2ADC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3" creationId="{93CC4EE6-F4E8-16F3-C471-9C3C17196A9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4" creationId="{F065F61C-6EE4-385A-28B2-507A5D90234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5" creationId="{634BAC3A-EAF0-8808-EAF1-1100BD8218C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6" creationId="{064AAA97-F44B-1167-7A97-761C8D85573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7" creationId="{2C07D2D7-5128-54C6-3265-27E9EB4BF4B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8" creationId="{0E92C502-00DD-25D7-0F5A-B86FFB0756B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69" creationId="{2792E18A-B309-FBA8-13C3-34AD64CDE77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0" creationId="{89A1FECB-B754-06E1-0B89-8D984F8A9C6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1" creationId="{D20D682E-AA2C-9E64-4195-6D76EDDEF05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2" creationId="{47652D82-B065-BC1E-09FC-3AD29AB53A2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3" creationId="{74B2E29B-0F18-52D4-E853-0F935017BA4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4" creationId="{D0C5997E-6131-0DE2-944B-84E401C5DE1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5" creationId="{B9CE0869-F43D-D16C-C91C-5119F59A2C2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6" creationId="{C2503681-0C54-549B-CB50-D541C5F4ABF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7" creationId="{9697E08E-4A35-9C75-2DE1-4CAD11CED22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8" creationId="{4999DAB9-A94E-2B9F-1ED1-BD07E25F5A5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79" creationId="{F4651528-3F9D-189B-EA0B-9459A714F4F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0" creationId="{BC840BE9-1530-94F9-5856-FE58E75468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1" creationId="{46D605B2-0D4C-C694-3318-C179B1E8911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2" creationId="{3393CDB7-C7E4-A227-51E0-E6BB48B6633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3" creationId="{84BFC244-ABE0-E04A-F971-4BE2CD8CBCD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4" creationId="{7B5FF061-A654-D4B3-10BF-05BC82E370C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5" creationId="{72753496-E79D-DB9E-1EA1-A9F4D9F0781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6" creationId="{66590C0A-7695-7E1E-A906-C21122571D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7" creationId="{861045F2-1900-0269-E02B-44C894FC7EF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8" creationId="{31613FB1-1EEB-7394-0D6D-315996EC9AC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89" creationId="{63C35D23-3CED-1A5E-363F-5B08E04466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0" creationId="{7B74314E-7B69-55A9-290D-481A53DE7CB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1" creationId="{CCF27EE0-8A40-3667-B81A-900D7291069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2" creationId="{6BDB1633-2E34-2CBC-AE95-DAABF30A86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3" creationId="{A233657E-31CB-71A6-21E8-925D58CA7B1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4" creationId="{1B2B016E-7167-FDE1-66BB-6B55E3A59C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5" creationId="{0450C6D7-FEF8-D3CE-4BAD-EED14860AB8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6" creationId="{D4F7DD63-B2A9-B53D-DEF1-6C289C70B3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7" creationId="{D357EF9F-AEB2-871E-8184-2227A602B20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8" creationId="{5CB943E5-8B4D-7084-5827-B20A7501309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699" creationId="{3A3F1075-E87C-CDCF-AEFD-A8C468EAE4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0" creationId="{B17BA591-28FB-8620-A752-0841DDA4C4A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1" creationId="{45D6269C-7DB0-324E-D0A9-86C32160F8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2" creationId="{2BF4A11A-12AC-D9F7-2975-DC6575C3C2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3" creationId="{F07FF6E5-6D2F-FEBE-733C-18DCFD6654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4" creationId="{FE32CD9E-93CE-36D6-F15F-052FFA2920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5" creationId="{8CEDCA87-A392-B804-2411-57D03136D97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6" creationId="{30E44264-B38F-F130-F10C-346EFF36D5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7" creationId="{656E5467-C8ED-DD3F-0F45-948B1B1C3D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8" creationId="{C0AD2867-ED0F-693A-421F-62AC3839E61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09" creationId="{BA87FB22-EA9B-88D0-2A8A-E2799C54363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0" creationId="{1FBB707C-D94C-F888-648D-89719B67DAC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1" creationId="{DDCC5C9F-2F36-DFDF-2924-806F87A651D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2" creationId="{1C5CDFB3-3F3A-FE84-DB0C-A901DEE43D7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3" creationId="{F0736105-FEC7-4613-59AF-196A51B9119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4" creationId="{0B9A7209-0041-C775-5D28-F6A611CFD50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5" creationId="{797FF9B1-2BF4-528E-39B9-5EE4A5CB96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6" creationId="{B82AA4CB-1A43-B49C-A560-0792DC27BC3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7" creationId="{444AFCA6-A153-4152-0D37-2D84F5B8111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8" creationId="{7AC725D5-A5B6-CF56-CE73-AD0073AB763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19" creationId="{A471DC4B-77C6-A3B7-951A-149D3C23C3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0" creationId="{A49344B6-FD48-AD9E-4016-ACB30434585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1" creationId="{18AF07FA-BBC9-1AA5-5FF4-2AAA1E00E5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2" creationId="{74DEB8BA-9921-5124-963F-85EDC893CC3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3" creationId="{C80A32F6-7CE5-7A3D-E7C6-AA4168B935E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4" creationId="{2C301CF7-04B7-D721-81F3-74F1C514DD4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5" creationId="{E82A5AB9-E5D9-58A2-A53F-CD7E12D8C3D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6" creationId="{E6DC838A-3C89-F523-6F0D-0E899F1300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7" creationId="{B2AB76F0-2691-E638-82F5-50C64F7823B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8" creationId="{5F6E337C-BD78-2647-AC09-E3C8863DB56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29" creationId="{685FC37C-38E9-66C2-0578-A64B964F4A0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0" creationId="{ADCA0AE0-3916-B8B8-9F35-0D94A655E8D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1" creationId="{0A075AE5-F9F4-F131-4B8B-52C5E78348B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2" creationId="{0B082212-1A93-1ECD-BDFC-2EAD954AC01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3" creationId="{F69BFBE8-9E2A-48C6-449B-E33D585789F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4" creationId="{828C88E6-ABDF-73FE-B3C8-585D290D7D3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5" creationId="{49C34817-DDF0-27A7-DAE4-8AC4EF07AE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6" creationId="{FE70C752-A59B-0562-721C-A191B4B008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7" creationId="{697B00A0-F30F-F437-C9E0-03BDB0215C8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8" creationId="{72B0D47E-D07E-A0D8-6023-F4170D0A44D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39" creationId="{0F1C1256-09A7-E694-854E-1D88449F9E5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0" creationId="{31C9C17B-6610-81B0-4280-560529243FF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1" creationId="{829E4233-D757-1A6C-3FEC-3E185D8324B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2" creationId="{DAAA4B1E-F509-98D8-FD45-895ADD3B233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3" creationId="{11C2B3EE-6B1D-1F6A-0AEC-87E14FFC29A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4" creationId="{99ECD249-F128-AC44-0D79-05F58BB52E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5" creationId="{9145BFFC-30BF-0D13-AC7F-071808156D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6" creationId="{129B859C-8B5B-96D8-6D5A-E0222E8CE58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7" creationId="{2300C995-F83D-A3F0-595C-AB777708656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8" creationId="{64F9F161-88B8-8225-A9A8-3636813DCEE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49" creationId="{1D2AAC81-3B75-2AA2-CB7D-BEA624E3393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0" creationId="{836827AF-C4E3-80EA-B15A-6B3A04BBC9D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1" creationId="{037D23BE-5485-9EB0-F482-1C0965D03D2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2" creationId="{25C1C056-CDCF-AAFA-268B-0D6F5197D43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3" creationId="{3EA9B8D0-A768-9371-0196-FA7465D820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4" creationId="{78C72475-2627-4DF2-612C-C4DF8651DC6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5" creationId="{1A72258D-B346-0A84-686E-CE50F108959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6" creationId="{E1FF8BCF-B734-26A5-407D-5F4084736D7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7" creationId="{219F6795-7629-0219-F7B5-FCBCC8A547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8" creationId="{E6950692-1326-ACE9-7E74-63583BF215D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59" creationId="{A85F403A-808B-16A5-FAC6-48C0F22D69C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0" creationId="{E1C252C0-174E-C153-4F34-7B5132BF581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1" creationId="{5FE5C8E2-3937-7C41-0D9E-F22FF3B559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2" creationId="{4339D7C1-97A2-2C64-36D0-21FC9D0DC1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3" creationId="{B6B806D3-170C-0783-9D2F-C4035EE0E07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4" creationId="{2C54FF44-08FF-EF32-359A-77DBF8F1AA0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5" creationId="{0D76316E-8321-F156-282B-A5BDB85145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6" creationId="{DBBBDE79-C912-10A3-183B-782860C6E2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7" creationId="{06F7C08D-3057-F56B-44CE-E2CDC4F191B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8" creationId="{FC93FC61-AC8C-A287-6BEC-9E8CF4AADAD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69" creationId="{D69AFC93-A78F-D8DC-ED1B-8752413096F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0" creationId="{8991C85E-DCED-3A12-3813-3C512B8C9D8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1" creationId="{ED367C8F-A755-C578-AEE9-57A7300B265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2" creationId="{63D0BC9D-32F5-0911-137A-0A5CE523E3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3" creationId="{4BA382AC-4D5D-9436-728E-ED78FEEABEF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4" creationId="{BE9E0D3E-D96A-422F-CE9A-02F6645A25F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5" creationId="{40782565-429F-D0AE-3D1C-D8B0BBD1245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6" creationId="{8BE7429C-3E47-41B6-6EA7-2D3273A406A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7" creationId="{E601258A-1BF0-5BC7-B3AD-5C92674ABB9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8" creationId="{FFB97328-87D4-3CCD-CBD4-6A394875311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79" creationId="{DD902997-67C2-DAE2-FD5A-CB42351106F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0" creationId="{F3183CF8-E6A4-F045-2206-933F969008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1" creationId="{848AE1D9-ECC7-E68B-0B81-15E3B085F1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2" creationId="{3347D028-C88D-BBD2-7594-196C71F2F33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3" creationId="{7893EF49-02E5-423F-49DD-18EFF4DB802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4" creationId="{6CB4107D-D6A5-5DBB-0EDF-BF0CC39141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5" creationId="{AAA9ECA9-A15D-E661-9E7C-DF8164B5364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6" creationId="{3FCFDF44-1283-02D8-FEA8-A2F75947E97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7" creationId="{34CD2A67-4247-F8FC-1514-FA6A45CAAD8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8" creationId="{61B591D6-5304-314C-4CEA-B3B69FB582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89" creationId="{9CEA7C3C-7C6A-4D2A-D4B8-C6A00ECFC82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0" creationId="{23009FFF-292B-093B-6A02-2A055A6844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1" creationId="{D6D0B6F3-0F78-825A-7352-E84D3020F45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2" creationId="{E963D742-5EF5-D632-12DE-F55DFA1C007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3" creationId="{057BB0B0-6B44-2269-E8FC-86FEFFF0C5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4" creationId="{756DDEE5-86AB-881E-FD85-3837F7085F9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5" creationId="{938B3A8D-AEDF-740A-C157-48A6A7D6319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6" creationId="{A5470D0D-90BA-6C4F-C86B-6750EEAAEE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7" creationId="{4527F515-1946-B20C-D7BD-9714E4F514F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8" creationId="{786C5282-C367-FEE7-131F-9EFDFC4F48A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799" creationId="{DB080F44-FE89-0B5C-2836-A59923EC392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0" creationId="{60F3B30E-3809-E1C6-4738-FF35F44426D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1" creationId="{430676B4-78C7-3CED-05F5-03757099AB7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2" creationId="{BFFE7785-6055-23D9-D777-702CFF8955B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3" creationId="{C131854F-A236-B66B-6664-D14A0CA3A97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4" creationId="{C380C4AC-16CB-98D5-C02A-6099CAD31A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5" creationId="{CBAA04ED-9A72-1329-419D-553D25277C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6" creationId="{EEC7E527-5E64-B2B5-1D64-68C188A72DF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7" creationId="{7F965657-2E9D-7F12-4307-8DBFA909875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8" creationId="{B0E94356-7463-EAA2-6E75-4BD110C1359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09" creationId="{983BDC0C-8855-2F80-EA32-538F046AA11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0" creationId="{EDBC4139-4024-C7A5-31FD-3B777DDD9C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1" creationId="{268863C7-DFDD-6F6F-0454-19F0B3D2B09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2" creationId="{B5C2148A-D26D-4C78-23B0-3EB32017934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3" creationId="{088A5C9C-24AE-6C1B-41B8-6B46BA24DE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4" creationId="{FECC210F-6D12-59D8-51D5-DED35A7C95A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5" creationId="{9AF2CB7E-E055-C5D2-A720-E09ABF00633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6" creationId="{405283B6-3686-A6A8-70AC-7811076686A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7" creationId="{25C78DD4-9706-9362-0EF7-2E0C211F31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8" creationId="{9089E4A8-5647-0E8A-C8CE-6B64B2557C0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19" creationId="{D5889558-0D8E-1C6D-6EBA-C5F3103DE4E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0" creationId="{355395F7-AF10-627D-BBF3-BEDDCB795CA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1" creationId="{3D1A8DD8-CDD5-68B4-BF57-AEE5D0156BA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2" creationId="{F58773A2-C6A6-A020-52BD-CE3073D105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3" creationId="{E9B75FE2-0F37-8E5F-2E50-FC9CAD1A64C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4" creationId="{6ADF3954-DF1F-0447-22A9-37B5072BC8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5" creationId="{BAF80AE6-BB4E-CD06-E3AA-4969A8BB57A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6" creationId="{04662EF8-C248-C8BC-7991-90F659720A7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7" creationId="{4210789D-DD50-1797-A966-C286B5993A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8" creationId="{E729D13C-DC3E-B887-275A-1244F71738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29" creationId="{65BF531B-F8EE-54EE-01AF-8CC9C36BE61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0" creationId="{C04C30F2-9218-B965-4DA7-C6892A2220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1" creationId="{6EEA63F1-C7F5-3C7C-A66E-60968684FD3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2" creationId="{AF2F4567-CCFF-7840-7E89-311F4B113AA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3" creationId="{0734BBFF-2639-49F0-A5BF-C20BD0BCA1F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4" creationId="{20A97067-77A8-9BEB-0CE8-D8EF48375D6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5" creationId="{8EF7CE9E-FA54-6BF6-0E68-5FFC0F3B99C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6" creationId="{DA7960AE-3FCB-8A48-B3D1-85426E72AB8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7" creationId="{12F4218A-AFB8-8BEE-06C9-EF9C1C0791D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8" creationId="{2D0776F8-0CC8-C8FA-E857-0EEFAF7D356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39" creationId="{D3E82D6D-9E15-ABF3-9948-3EFCEE1B73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0" creationId="{4F518B67-64FE-6EB7-373F-A5FD348DA69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1" creationId="{69343769-C628-C573-16DC-EBD91A67D2D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2" creationId="{722AF42B-0195-C35E-C10A-6A57B37C36D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3" creationId="{E657A227-D9A5-215B-5BB7-F272F7C8C4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4" creationId="{038631C7-ED8D-98B9-E94F-7CE41DE2ECA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5" creationId="{6087B19B-7F51-4519-E4E8-77FB5BA496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6" creationId="{1682FCED-D73D-69FB-6B07-CC2D3DA5F37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7" creationId="{DD2A1D8F-7259-AA79-570D-1898ABF584E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8" creationId="{3431F3B3-BFB0-F30F-41B6-47C31EED677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49" creationId="{EB23CD03-676E-7044-4AA6-F9FB6AA24F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0" creationId="{01A83128-0DA8-3A92-EF5A-3759F48B532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1" creationId="{698A9A54-6DC8-585E-A874-61D6BA09F51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2" creationId="{C6222956-A16A-1863-2188-89DE59AAD2C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3" creationId="{CA0A4E14-A587-AD89-37DC-928A7D05DF2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4" creationId="{8777DB44-674E-B804-1945-F2719216820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5" creationId="{5E27F62C-16D6-6B66-2B87-6F876A2703B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6" creationId="{B56E8441-DE33-8716-8833-B3D5B2B6DC6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7" creationId="{56A7C977-2305-98FC-569C-4A4202779B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8" creationId="{7F1681EB-8FCC-6FCD-93A2-6E2EE4C5DCB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59" creationId="{3D005A3E-B626-108B-EF08-CD8A866554B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0" creationId="{43E5C76C-4883-4610-2C90-4C8BAFA05F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1" creationId="{AF3AF958-944E-ACCF-1DF1-448C682B6FC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2" creationId="{85D96569-8E3A-F244-98EC-15D56C7F8FC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3" creationId="{CC2142B1-37B1-E5E5-98EE-475C8474BB2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4" creationId="{D66663E5-C931-0C9E-C717-FDE636529E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5" creationId="{02E762C5-39FE-1D62-AA0F-00CD39334D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6" creationId="{8DEC987F-E007-EC37-3AEA-59FB6E187E3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7" creationId="{4DAB646E-9EDC-95DB-18E2-7E85573A3E3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8" creationId="{78AB0D34-D7B4-001D-7582-34656852325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69" creationId="{9A72DE23-65A7-6E91-F827-44BD7A9AC7D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0" creationId="{875B496A-4264-937E-207C-F2A0FD4CEC2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1" creationId="{D71C4B73-B4DB-6593-0FC1-0C9CA165ECD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2" creationId="{DCF7105B-C5DF-5976-6A32-6036992C276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3" creationId="{7C0EB39E-A70F-2ABC-7BDB-A3ECEFC5FB5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4" creationId="{5AEE6F61-D428-8DD1-208A-9C94A56A9F3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5" creationId="{1BDCD682-4A6E-A042-BE4E-9EF734B5687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6" creationId="{7CC18659-0408-70B8-D86F-6707BA7BB37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7" creationId="{CD16E03B-7B24-15D1-D3FD-BCB2ADA96DD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8" creationId="{74E79786-732B-C27A-8ADA-796C8E3C5CA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79" creationId="{D92E3803-4D0A-EB45-421B-FD4FB1FDAE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0" creationId="{1F3C1621-FD24-4697-8EC8-2BDF5A9B279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1" creationId="{6B95C46B-D519-887F-3763-EBFDF000782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2" creationId="{78965DFD-6615-B365-43DD-E326E0AA384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3" creationId="{0512F5B0-26C8-076A-A5FB-0F44FBC81EF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4" creationId="{66BD69CF-9A27-8A40-301C-76C7FD9247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5" creationId="{3DE24233-1078-6EB6-0DDF-58AA479F90D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6" creationId="{B2246B25-D410-970E-B3F8-03711938750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7" creationId="{EAB254D6-4DEE-40BD-A24E-24F259B4427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8" creationId="{D0CFA2CD-9AEA-BAE7-28E6-E5B409523E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89" creationId="{5800A129-7A0A-F52C-2933-69A8E379BB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0" creationId="{37570A22-5E2F-2FBC-13D9-BCBA7041F80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1" creationId="{993C2A07-5733-9B4E-AA43-01A5FE57BA1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2" creationId="{BB3DA931-7815-670C-F806-F9B2A4AF7F6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3" creationId="{984772D3-7AB8-136A-D457-4EA67231CCC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4" creationId="{17AF45B7-AE9F-FFA7-5CEA-8BC60B0FEAD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5" creationId="{22E8FE57-0CD2-ED4D-7028-FF874F33C90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6" creationId="{0866AC7B-A032-2F56-34A9-95176B5E505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7" creationId="{8D5AAB17-67D1-65C9-7E91-DA5FE9AAB5E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8" creationId="{00EF4D56-84F1-B5CE-AF1A-35C6610FDE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899" creationId="{D2F9A6D1-6E86-D3CD-1AD2-C4DE1FC430E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0" creationId="{4E32597B-5CA9-9AD1-F61C-38A1C10EB62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1" creationId="{84437268-E662-0DF1-F6FD-D6B7385441B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2" creationId="{334CFDEA-5CDC-5B62-9FE9-82F4EE33393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3" creationId="{FC87B725-5317-F41F-49F2-12BD9563E38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4" creationId="{C85A2197-845F-178D-78C1-AA02B771670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5" creationId="{42C788A9-A55C-9E16-D7AF-519916E1CA8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6" creationId="{1367F670-69C6-D9B7-F4AD-C54F402ED57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7" creationId="{EECC14DD-BFA6-AD2C-20C4-2D76B370654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8" creationId="{F14410A3-CEA0-88D8-1520-4A8783C12AD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09" creationId="{AA921A98-BE98-FDED-CDAC-C4412F28382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0" creationId="{52D80370-CF9A-F954-0A02-CBFD13E4583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1" creationId="{220DDFA0-8175-CDE2-7690-B6EE05C7CFB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2" creationId="{A2288CB6-49AB-1B77-07E1-F900AB2CBD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3" creationId="{BE4879B7-535F-0CE9-4084-EA907BFA553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4" creationId="{37BFE511-3426-132D-3647-304C07378FF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5" creationId="{181D1719-F66E-9880-AB49-56CC1BCDF3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6" creationId="{0E89EFDD-DD52-160D-6538-0055C0B7405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7" creationId="{4AC3F920-C449-2AC9-4DD1-7FFC8D1C7E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8" creationId="{13C97C8F-FD1F-E79A-EB47-262CE343DE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19" creationId="{4ED3062D-416F-3EAE-EB4F-DFF16F185EB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0" creationId="{8BA2F9F9-9D0B-61B6-C3D1-65198AFB195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1" creationId="{3D74C9C4-5D60-930E-3046-6975D708925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2" creationId="{B83DE59E-4CCE-E31B-955B-4EE9036B5BF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3" creationId="{E593BCB8-1978-AAFC-582E-F717D6BC2F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4" creationId="{672170CA-C0F7-C3C6-1F80-6878497F905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5" creationId="{47096D71-0013-8F84-F4CB-3C99FE48E59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6" creationId="{EF1EA8F9-2143-F4F0-E4FB-9B32A3DE5D6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7" creationId="{3211D17C-0B4E-1B99-4FE2-85A4B8EA5A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8" creationId="{6344A974-64AE-3706-79F5-D3865A2BE37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29" creationId="{7C9ED318-BD0F-9D6A-D4FC-A13BE4C5BFF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0" creationId="{74A75D16-DCB8-EC7A-2F4F-943C5057D47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1" creationId="{86A3C8E1-AFF4-3B14-0447-A58B19D5F88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2" creationId="{087669E3-32A2-5EC6-014C-EC71ED070C1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3" creationId="{EA799ADE-633F-3CC7-87F8-ED249D95AFC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4" creationId="{F39A589A-5967-BB85-9ABA-05D8A73002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5" creationId="{1B688C44-021C-6DA0-674B-0744CA2D9D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6" creationId="{F6BCFA3A-EEC4-BA74-6730-6EDD4F02F95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7" creationId="{34C459C2-BE1E-49D1-0E32-738259F17DF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8" creationId="{C80C216D-A3BA-62B3-BEBF-B59530107FD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39" creationId="{F93AAF74-D07D-33F5-81AC-9707254C43D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0" creationId="{5C0009B4-33B4-A0B9-E713-16294F6A2BC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1" creationId="{19C15E4F-6E3E-383E-FF70-CE6CF9370BB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2" creationId="{3710F3BE-54AB-7780-5787-175A5E49AC2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3" creationId="{D82EA672-EE99-D016-6E64-D50E636DCDC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4" creationId="{62288CB1-3237-A877-452A-8CF06DE660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5" creationId="{8EC3B5FA-DC4D-FB53-F4B3-B6D30DB0434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6" creationId="{0FF9C98F-0CD7-F07B-C889-63B9BE05DE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7" creationId="{3E483253-0354-14C2-0A48-A29681AA6A6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8" creationId="{B4D978C0-E678-73BE-F4B1-343095DCB64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49" creationId="{11A5D456-F075-70FB-1F67-BBCD2A883D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0" creationId="{36ABF981-426F-79CF-839C-A349D12B482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1" creationId="{E66A64E9-993F-FD29-E954-BAE160DE683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2" creationId="{C563F79E-6251-15BC-66F9-30095305759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3" creationId="{F5B91F64-0249-2042-F6A9-3B709764706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4" creationId="{FC93BFEC-6216-5F91-B359-543A5562455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5" creationId="{4BB8543B-EE72-C11E-E91C-54F11E9FA39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6" creationId="{75820075-B24D-9524-BBA9-EE0DE530457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7" creationId="{544D9A97-8C4A-25B0-E566-8B6773B713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8" creationId="{6B753C40-9AB5-0430-FEF1-F961888C98F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59" creationId="{3DFB50D5-9F35-D35D-700E-2FA05C9E4AC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0" creationId="{291C5976-3AFD-5C04-D3AA-A3BC2A4B997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1" creationId="{80ADFB22-E9A1-7803-9BD3-4E63C537A1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2" creationId="{1C9DEB14-D0A4-7476-5F8E-3DB74D91CF2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3" creationId="{1C74B11C-09DB-16B1-D907-B6921578F5F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4" creationId="{BD21D81D-54C6-CC8F-9758-1666359C948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5" creationId="{0276AF98-D091-1871-4D07-3000B86C8BF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6" creationId="{C4F35B0B-5A8D-5952-5666-2A7E0A65CC4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7" creationId="{EAA0C292-9510-234D-6480-F99A1B8BFAD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8" creationId="{087B59B9-6246-F73A-AEC8-CD993A20710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69" creationId="{4959CFC8-19C5-B577-380A-B80303A83D4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0" creationId="{158211B1-DF95-1F20-E428-4B25EDF0A2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1" creationId="{3900B713-CE77-2134-A2FA-6BCFE23853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2" creationId="{74F40A3B-147E-7465-5A2E-C5636032040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3" creationId="{E0E7FF42-BE56-1560-D2E3-624DE0DD070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4" creationId="{7F6E6D6B-3002-6ED1-2BE8-47B816B473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5" creationId="{A7989E69-43AD-70DC-1C54-F0A3F5A316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6" creationId="{13F2DB89-B944-41AB-B3E6-58A713EABAC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7" creationId="{A1465EB0-0A12-CB48-F5E0-99C72591D8D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8" creationId="{01CC20ED-75B3-61F6-F8EF-74E903802FC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79" creationId="{56143AE4-6411-71CC-C003-B6215FE9F4B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0" creationId="{987E5B06-5254-64FC-7464-5787E1035B0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1" creationId="{E89CFBB1-3C08-2A3F-1850-FDD051270AD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2" creationId="{959D9F4C-A87D-3DA4-9703-570D29E5550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3" creationId="{49681A11-C2C5-7AAB-4A95-6C27405AC52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4" creationId="{BD11B98A-2A10-0E6C-C437-3C483BFA174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5" creationId="{D27D7704-C6CB-95B4-EFDA-37D859A6EDA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6" creationId="{A349FA13-6F04-7E8B-4F4A-DDB18DF67F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7" creationId="{37C6A5ED-0D7B-2EA0-EDF6-5CDB009E16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8" creationId="{E9D4C78F-2314-0096-353B-C8E5D3D67F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89" creationId="{C5B5B86F-08BB-10E8-B6C6-BF201217C72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0" creationId="{22DFE965-26D0-F641-AD82-5F4476A1BBF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1" creationId="{AB6DC4D3-4217-2BF0-DE5B-400491511B8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2" creationId="{ED9A1D14-AF88-5C97-7A68-30C1787D466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3" creationId="{9CEB09C7-33C8-90E6-4D38-CD095E40B00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4" creationId="{8E63C21F-EA9D-7FEF-FF19-A318E6A0C79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5" creationId="{E38102AF-2250-39A9-EB32-5272B1857FA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6" creationId="{C44A82EC-3BC6-0AF6-B7AE-E4D25FD501A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7" creationId="{3BECF743-DC5A-E7EA-28B8-981F48196BE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8" creationId="{DB00DC7D-DA40-E9C6-0730-E0F54FC273B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999" creationId="{08957F53-F230-F6F7-8AE0-08ACCC215C4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00" creationId="{C3CAE1D4-4C12-45B1-CF5E-F55833F152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01" creationId="{37BE0806-2618-D8F1-501F-8617D5987E1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02" creationId="{47055059-7E17-2B00-B271-8B1450E707F7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3" creationId="{4557D24C-8FC2-CF4F-043E-960F1FA923D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4" creationId="{BD223A30-0C71-6E90-7E6E-3A739839092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5" creationId="{9E083D61-14E4-1340-8311-F8B5F1C9088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6" creationId="{05B8F3AA-AD33-1C85-55B6-E6E0EAFCDEC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7" creationId="{9EB99B05-932A-24CC-ED57-AF47384586E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8" creationId="{0831F5E0-D4D5-7E6E-71D3-56BCDD7EF63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09" creationId="{FEF61B29-1D5B-3DA5-FCCE-2EB655C3CCC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0" creationId="{D28DC818-2044-004D-EA9D-C29EA38B67B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1" creationId="{B0BE2CD3-78F3-4C79-4BBD-32D73D93D7DA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2" creationId="{49F6B708-1EC4-E804-938D-EFF6D44FA8A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3" creationId="{ADC65289-590C-660B-9F8E-BC41906FCF5D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4" creationId="{DA5C8630-4069-9169-C320-8C3892DA93C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5" creationId="{93A12613-3D9C-70C2-F11F-1524E16EC1A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6" creationId="{55397384-22F6-C63C-E620-97E63011536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7" creationId="{1A1C7A96-C599-78D2-99A4-BB2D118FB68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8" creationId="{630A00BF-E1C1-EADC-9C77-E928DD94A8A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19" creationId="{7E5D288E-FCE0-353B-2957-C5F957A1207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0" creationId="{5F0F32E1-28BD-8DAC-1CA9-D282C762FD8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1" creationId="{AB8297B4-CDBA-C4E4-F976-ED829ECF4AA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2" creationId="{CD088BF7-2FE2-E6F9-0534-6CEBA862B9F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3" creationId="{68CCF8EC-5B59-93F4-B393-547B033D32B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4" creationId="{0EBEE948-15DA-4A99-8338-0A9EF58EFDF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5" creationId="{41D87428-7383-9F52-AA3E-82ABE48A6CC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6" creationId="{E7511EE7-C95C-8E20-0A87-6A5956F39AC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7" creationId="{5701B588-3524-9BE8-139D-07BB8D8FD5F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8" creationId="{D0061E45-0312-6471-1A22-B6DAC2A2377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29" creationId="{886A5891-3259-C00B-E23B-7FE5CA8DD9D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0" creationId="{2FD82608-BB8B-7644-69FB-79FAB656E30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1" creationId="{3239CE68-0397-A364-7895-707951F7F0C8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2" creationId="{B8AEE086-5125-E388-7FEC-DD2347E63FEB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3" creationId="{E6E2A099-EA6D-2B27-7F78-480ADFF036B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4" creationId="{8A4F10AB-EF3C-76F4-B426-3A5576D74DA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5" creationId="{FA11F155-B8E2-2B85-0D95-8B0F7D8D22E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6" creationId="{1B5FB9DF-6237-0372-A066-B245FFDB8E0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7" creationId="{AEDE14A9-665C-7F25-9105-692F61F96F6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8" creationId="{299A640D-FDC8-CDA2-B54D-86E9840F99EA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39" creationId="{7C960B20-6B36-9831-F181-108E4E8E3D1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0" creationId="{66551596-3A40-A17D-DC01-E846B77DAEB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1" creationId="{796869A3-44A1-055D-1E92-D8181728EDB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2" creationId="{C9D5B02C-DB14-78EA-ACC0-942FBF82C97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3" creationId="{D9231F5E-7C9A-AEF6-C986-D4E2F10C4A0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4" creationId="{0DA2EF9D-01BD-25E6-78CD-2778652C960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5" creationId="{4C04F64B-A5EB-1E95-4BEC-B9A45C9B025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6" creationId="{211A02D9-C1FC-5078-98C7-55E254DA89D2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7" creationId="{FB063D4E-89A7-D2AB-E627-B0F9FC13E14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8" creationId="{A2FE7ED7-02EF-1AF0-B946-0B9C71778E7D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49" creationId="{7D857B22-6D22-02F4-773D-8EC57FB5CBB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0" creationId="{B057E5C6-0EDF-64A1-BEC7-6C3FB89B9E1D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1" creationId="{8F48A0D7-5699-0C40-7AE9-E27B8C195BB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2" creationId="{5A14D599-DCEF-9CA7-2DF0-2EB7E44E57D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3" creationId="{BB46AB9C-1DFA-2FF6-F846-05E9AE8F32E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4" creationId="{978CB898-A82A-2A34-9365-3B78F6957D32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5" creationId="{C0D3E1E5-25CC-B34A-5BDD-34D23A3C3BB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6" creationId="{E4515CFC-B213-CD3B-590E-5A98CE359A6A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7" creationId="{8FE75A61-305D-7D09-9A52-6BE18FED300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8" creationId="{31FB05F9-4CA2-5521-BD39-F0A8E625F4C2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59" creationId="{F614DE33-3806-343D-F994-7ABA32C719E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0" creationId="{8DBB4D90-96D9-4F34-D662-52820DDCA088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1" creationId="{464641C1-23F7-1B43-96E9-7A2FA625160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2" creationId="{F40C473A-CD25-D411-A254-59EB23B00FFB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3" creationId="{84DFEFF5-D705-CCFD-8A40-746585A44A5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4" creationId="{853D2038-BBC7-2A6F-01F9-3CDE1ACDE8F2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5" creationId="{5752632C-2B56-F471-96BB-7A0D2DD0E6F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6" creationId="{A23FCE2B-891B-8B04-65DA-6C832DDB48EF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7" creationId="{27F5D0B9-CFA1-2048-FA63-7893CBF9DB5B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8" creationId="{0253A8EE-72F7-BC2E-8E64-0EE2053F9ED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69" creationId="{2D4267D3-DD14-B5E5-BA5C-B465555BF6B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0" creationId="{EC3CA0CF-6EC2-2C69-5EBD-33EF769EABF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1" creationId="{058FBCE6-D028-C4D2-5413-2549340A98C1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2" creationId="{30592B1F-6011-BD16-5CA2-4940ADB7DD7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3" creationId="{5453934B-8B0C-AA32-EAB3-D382350EF119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4" creationId="{093DF576-574A-25A6-E2FA-1A3127DCDF8B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5" creationId="{2D4FE8E1-40F6-419B-A4B6-97D5B42F613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6" creationId="{A4483CF2-03DB-7798-CC0C-2772A6CFB20D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7" creationId="{7596631A-63C6-30CC-EF26-F73D8EE1C00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8" creationId="{2AE3062A-B667-99DA-D190-717B9E307E0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79" creationId="{D0300280-A8E3-8F27-D494-9136D389F788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0" creationId="{DF37F86F-A583-D405-E482-AF9B0526E6D2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1" creationId="{7149BFB0-43FE-4D21-7103-517E44C8F827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2" creationId="{A9D6776E-E405-C513-4EA5-FB364A7A4EFA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3" creationId="{49E7F68E-E351-80AA-E88A-7A9B18A102E4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4" creationId="{D11BFF4E-006C-A373-D423-290166CEC2C6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5" creationId="{D0C6FBEE-BF76-3874-252E-F63792D78D75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6" creationId="{78BA76A6-FC46-5532-C401-1DEF08C8A0FE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7" creationId="{B4FE6D7F-510C-E3ED-5E85-1622CCE8174C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8" creationId="{01D15D5C-5F9F-1C82-7B02-26843301B2A1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89" creationId="{BA1EABB8-FA49-BD7F-DB55-DE79DAA8F81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90" creationId="{F65B5202-CE07-6F92-3C6D-BB2726EBBDF0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91" creationId="{57ACA87F-0798-4791-40FE-1B177420BEE3}"/>
          </ac:picMkLst>
        </pc:picChg>
        <pc:picChg chg="add mod">
          <ac:chgData name="Cimer Ádám" userId="8a923def-9a81-4ceb-8db9-424f2c16c007" providerId="ADAL" clId="{EBAB697D-D0C1-4C12-BAC8-A0BA9B60B910}" dt="2023-03-07T21:21:28.533" v="251" actId="1076"/>
          <ac:picMkLst>
            <pc:docMk/>
            <pc:sldMk cId="214200205" sldId="259"/>
            <ac:picMk id="1092" creationId="{8C702A44-7E5B-1015-165B-54C6A14A3A2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3" creationId="{0AF633B2-4CDE-FB53-EAAD-323442A3816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4" creationId="{51C8CA58-F35F-3BBB-354C-87BC7BF553F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5" creationId="{D66BEFB3-78B8-3475-543B-E2FA4DDB0AC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6" creationId="{AFB577D6-6C82-8997-CD04-B5474B44941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7" creationId="{40682196-8A28-0830-6592-BBF5A6A8B7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8" creationId="{F4487336-F2C4-D365-8005-272FD59D53D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099" creationId="{71B75EEF-F699-4D48-C9EE-80CC0D6397E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0" creationId="{6BF8787F-5D64-BB84-3198-3D08DCBB7CA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1" creationId="{3EABA5EC-D319-A5F4-D49A-8130E14C7AE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2" creationId="{8B04B8ED-D63A-B12C-B2D2-F0A216765D3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3" creationId="{DC7A3C08-C130-AB87-6A5B-B14B293109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4" creationId="{22E0A02F-46DA-21F8-4524-5208548667F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5" creationId="{AD412201-14EF-AC71-0C64-B4EF82EC02A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6" creationId="{C7030255-D68C-2049-E195-ABD269DA760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7" creationId="{C115B6A3-9F74-4586-BB05-FB9B6916689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8" creationId="{875B4270-3D1E-A1C8-A681-895E3E9416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09" creationId="{137AB147-D6DA-8D41-F972-CE1914B255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0" creationId="{DFF153A5-DF4C-3DCC-C485-0CD016E4E4D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1" creationId="{0E5AA3F3-C3E6-3268-865C-42A116EE93B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2" creationId="{6FEDBD17-D262-CA45-D406-75D40C46CE1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3" creationId="{2781FC55-9748-E19B-A379-B980992BFB2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4" creationId="{EDCB5CCB-EC7E-D524-D2EC-0A67F6B8C0E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5" creationId="{F3A4CBCB-5793-FD8E-1D5B-3842008CC1F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6" creationId="{A1A65E12-5E8D-BB6D-0040-172B394609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7" creationId="{77347055-110D-EAA8-B36C-00590573155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8" creationId="{4F60EE12-00E9-EEAC-4D26-2B40139A558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19" creationId="{6A8CE3A3-0251-A7F0-88A1-6B6FB58C42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0" creationId="{D03E4FBA-5726-FC2D-ED6F-8378FF7833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1" creationId="{2E80FACD-019C-79A5-A303-B74BE8A073D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2" creationId="{FCDCE87F-2E2B-018B-971B-729C7420949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3" creationId="{B6CC1D00-417C-2DA7-D881-4AAE097955F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4" creationId="{EB513F0E-CE3A-8D30-FB64-252C8CB841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5" creationId="{475E16F1-64E2-AA49-F602-93E7B7E77A3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6" creationId="{435877BA-B94F-C28E-A795-83241065D1F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7" creationId="{3CA20786-D061-1C77-AEFD-98A5B238411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8" creationId="{A4426051-A313-BF98-4B69-8BFF718042E7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29" creationId="{BF0783B6-66B1-13BE-2CF2-87CA7651C4E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0" creationId="{9956A45F-6B8C-6353-69A7-781DE402B52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1" creationId="{BF55835D-BC93-889A-E3EE-148AD44579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2" creationId="{A48A63AD-8732-8328-14FE-AFA34F8A357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3" creationId="{E1C46459-D8BE-6066-57B7-362DCA0B77D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4" creationId="{EC5526DD-5BE5-AE2C-E3F1-65872667A61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5" creationId="{C1A07F3E-5297-CD82-7446-BE45340D8F9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6" creationId="{8D2C9E1D-144E-DC9A-95F8-5AA9534017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7" creationId="{8F05CF0E-3AB6-96A7-3F2F-770AB7B24D7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8" creationId="{91E8062D-8C36-105A-C8B4-AE7E3BF2FFC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39" creationId="{2C31FB0C-38B1-D2E7-4953-C9A8175DEA4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0" creationId="{FF7B5F22-1AF5-12AC-A65C-517031A8151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1" creationId="{9B23F780-DC52-1F17-298D-B8EA01CCD5B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2" creationId="{46E6874F-BE51-189A-DF65-D5792DECE2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3" creationId="{F2EF56F1-6E0C-D762-ECE0-F675145564F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4" creationId="{D42E1D18-8E75-85C1-EFB7-43D3CEF65C6A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5" creationId="{71B371D2-7163-AB49-57CB-F6F199FA1CD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6" creationId="{1CBE682F-6123-7CE5-24E6-43F47CB78BC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7" creationId="{E7757CEF-B55D-722A-C31C-091D6EEFDDD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8" creationId="{9B99A09C-313E-FD93-67C5-E117D11F2CD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49" creationId="{6809620A-72CB-6756-421A-355964343E9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0" creationId="{DB8C646D-C83B-522F-E229-9E871AA716B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1" creationId="{EB26B024-6148-0EC0-0EF5-1FEC13290E2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2" creationId="{799918BE-A5F3-343D-5DF1-976FCA561ECF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3" creationId="{52700B00-E2A8-04D3-1DEE-54164C7387C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4" creationId="{1BDAE06D-96A5-3B8D-5BF3-562B871FA66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5" creationId="{299AC764-92EF-CD45-639B-7AB9A0C6D8B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6" creationId="{EF61EED6-4D3E-850D-7528-881111D8982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7" creationId="{7AF2C336-96E8-EE23-FCEE-A4519BFBA13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8" creationId="{CEC25788-C7EB-E28A-AE97-DC3457DC72FD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59" creationId="{BE52B748-A6E2-3896-73B2-EE5176D9AB1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0" creationId="{98EF1A89-D42E-E2E1-94D3-D0F14B6C623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1" creationId="{B17AB518-2CE3-3DA0-C61C-3893973E1E81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2" creationId="{096F0875-6C6C-2917-227B-BD1279D9B20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3" creationId="{CDB7C1C4-0FD3-653C-FD03-48FA5890CD0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4" creationId="{24EC0F95-8F55-092B-5BA2-4670A363CB2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5" creationId="{3B54F774-0BA6-04AB-0827-26D43B74A56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6" creationId="{1A8A48B0-785C-BEAD-DC8D-F71F1C894696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7" creationId="{A97427CD-3191-6F52-A695-F8736362912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8" creationId="{73E1795E-1BFC-09EC-8E19-7245194569B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69" creationId="{FA0F0FF0-571D-8B8B-EF62-89EC02EE48A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0" creationId="{4FE5540F-630B-2992-8837-1A2FAB16BC48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1" creationId="{6250F8A9-142D-8C67-E2CA-76F0ED3166C0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2" creationId="{70E1EAE7-8956-4423-4D11-45120F3466D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3" creationId="{ADE3613C-1F83-B389-199F-8272CE67C889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4" creationId="{01200075-7A53-86D4-3AD9-43823E1C9C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5" creationId="{B7018170-40A0-99D4-6108-4885D2E05835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6" creationId="{E9985EF2-0563-FF76-D258-95005BA7BE43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7" creationId="{5B3E8C80-2B04-899F-CB0C-69C04F849CEC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8" creationId="{1B5BEDE0-330A-7ADF-C3A3-A9E21A29901B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79" creationId="{34148AA5-74FE-746A-FC88-A683A1E86A6E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80" creationId="{C5538B2E-C168-8273-EFB1-8F40F3363494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81" creationId="{843DD925-BAE7-7BD5-1897-6326DECAAA32}"/>
          </ac:picMkLst>
        </pc:picChg>
        <pc:picChg chg="add mod">
          <ac:chgData name="Cimer Ádám" userId="8a923def-9a81-4ceb-8db9-424f2c16c007" providerId="ADAL" clId="{EBAB697D-D0C1-4C12-BAC8-A0BA9B60B910}" dt="2023-03-07T21:23:33.360" v="262" actId="1038"/>
          <ac:picMkLst>
            <pc:docMk/>
            <pc:sldMk cId="214200205" sldId="259"/>
            <ac:picMk id="1182" creationId="{E7CA0E46-C536-A124-7C2D-134DC94BFD6B}"/>
          </ac:picMkLst>
        </pc:picChg>
      </pc:sldChg>
      <pc:sldChg chg="addSp delSp modSp add mod setBg">
        <pc:chgData name="Cimer Ádám" userId="8a923def-9a81-4ceb-8db9-424f2c16c007" providerId="ADAL" clId="{EBAB697D-D0C1-4C12-BAC8-A0BA9B60B910}" dt="2023-03-07T21:33:29.689" v="337" actId="21"/>
        <pc:sldMkLst>
          <pc:docMk/>
          <pc:sldMk cId="419211473" sldId="260"/>
        </pc:sldMkLst>
        <pc:spChg chg="add del mod">
          <ac:chgData name="Cimer Ádám" userId="8a923def-9a81-4ceb-8db9-424f2c16c007" providerId="ADAL" clId="{EBAB697D-D0C1-4C12-BAC8-A0BA9B60B910}" dt="2023-03-07T21:25:23.630" v="279" actId="21"/>
          <ac:spMkLst>
            <pc:docMk/>
            <pc:sldMk cId="419211473" sldId="260"/>
            <ac:spMk id="3" creationId="{A7B8868F-99A3-4855-9F14-6BF92E284C41}"/>
          </ac:spMkLst>
        </pc:spChg>
        <pc:spChg chg="add del mod">
          <ac:chgData name="Cimer Ádám" userId="8a923def-9a81-4ceb-8db9-424f2c16c007" providerId="ADAL" clId="{EBAB697D-D0C1-4C12-BAC8-A0BA9B60B910}" dt="2023-03-07T21:33:29.689" v="337" actId="21"/>
          <ac:spMkLst>
            <pc:docMk/>
            <pc:sldMk cId="419211473" sldId="260"/>
            <ac:spMk id="4" creationId="{C857BE17-1D10-829F-6C3D-39F01C413974}"/>
          </ac:spMkLst>
        </pc:spChg>
        <pc:spChg chg="add del mod">
          <ac:chgData name="Cimer Ádám" userId="8a923def-9a81-4ceb-8db9-424f2c16c007" providerId="ADAL" clId="{EBAB697D-D0C1-4C12-BAC8-A0BA9B60B910}" dt="2023-03-07T21:30:48.131" v="303" actId="21"/>
          <ac:spMkLst>
            <pc:docMk/>
            <pc:sldMk cId="419211473" sldId="260"/>
            <ac:spMk id="7" creationId="{613140B8-6E50-2D16-5D4B-E877BBA31747}"/>
          </ac:spMkLst>
        </pc:spChg>
        <pc:spChg chg="add mod">
          <ac:chgData name="Cimer Ádám" userId="8a923def-9a81-4ceb-8db9-424f2c16c007" providerId="ADAL" clId="{EBAB697D-D0C1-4C12-BAC8-A0BA9B60B910}" dt="2023-03-07T21:30:53.341" v="305"/>
          <ac:spMkLst>
            <pc:docMk/>
            <pc:sldMk cId="419211473" sldId="260"/>
            <ac:spMk id="1525" creationId="{DD89532F-1BDA-B255-F8F8-F8704540F0E6}"/>
          </ac:spMkLst>
        </pc:spChg>
        <pc:picChg chg="add del mod">
          <ac:chgData name="Cimer Ádám" userId="8a923def-9a81-4ceb-8db9-424f2c16c007" providerId="ADAL" clId="{EBAB697D-D0C1-4C12-BAC8-A0BA9B60B910}" dt="2023-03-07T21:25:25.471" v="280" actId="478"/>
          <ac:picMkLst>
            <pc:docMk/>
            <pc:sldMk cId="419211473" sldId="260"/>
            <ac:picMk id="2" creationId="{98617211-B45B-B782-1270-E47F5801388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" creationId="{8FFD6A86-C041-936F-8337-DDBECB6E59D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" creationId="{E15A1A90-6158-BDC1-F8DC-242F60C0B58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" creationId="{E09ABDB1-AEE2-B5A6-282A-9644FCC0C07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" creationId="{9A109133-F061-94AD-AA4E-D5963D30889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0" creationId="{ECD7F184-481D-6E46-0FE9-F76455CC7A0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" creationId="{30A3692C-866F-6318-BC6E-E475161FF76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2" creationId="{0FA0CAB7-F7B8-13A9-3FC4-2FDC207206D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" creationId="{E39A3B51-4073-94ED-2552-7905FD9D514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" creationId="{42BAE071-A8BC-F415-77C0-75FB6E800CF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" creationId="{993C2797-5163-8E30-5D15-64188FDCA29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6" creationId="{C777DFB3-43E2-767B-880A-F5AE3AC85C8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7" creationId="{C2C8B607-691D-FF85-7C59-664BCD71339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8" creationId="{0998A20F-266E-57DD-D746-976DAC180E2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9" creationId="{3071E3C9-28D9-B8E8-8E1A-52F69908197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0" creationId="{BBAD4FCF-EA9B-C010-B728-58FE9AC1A8B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1" creationId="{3A806718-6679-E9D1-AB52-05657DE5829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" creationId="{0240CCE7-1EFE-1B65-84A6-37FC3FCAAC9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" creationId="{5F9462AF-2DED-67E1-9D89-61B626D4656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" creationId="{128F5E3F-D746-DA07-F730-26AE8AA2DBB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" creationId="{2593EA18-AB24-B488-43BE-6CBBB32F8CF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6" creationId="{2806FCF3-DEF4-9CFF-2518-3496BE97A43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" creationId="{6D11EB03-7835-C4D0-472D-08EC336F3D9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8" creationId="{9E885DE1-1B56-3625-7688-D3D51B437FF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" creationId="{0568A93B-4573-E971-77A5-C38C8556B3E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0" creationId="{CF02222C-F1AC-14E6-50FF-558864630AD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1" creationId="{20CDD7A3-E99F-BBDE-9B86-C38241B4141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2" creationId="{729ACAEE-FA72-2158-2439-1ACFC97F884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3" creationId="{1103AA41-91DE-1DA8-CB91-66C59FA9A82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" creationId="{E5B1D885-9D48-7060-E55A-E8AE73DC409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" creationId="{D12D62FB-6A50-2159-DB4C-68C029E0555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" creationId="{0857089E-ECFE-6992-4B6E-9B41B54580B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38" creationId="{F5FDA3CA-9026-785A-1CCD-9F3ABB6C86A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39" creationId="{9D1CCBC5-C0BF-54E2-F5E4-04CB4C75791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0" creationId="{55F2B18B-21FA-DD48-9767-976D1C1E432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1" creationId="{345647FA-7247-E46E-F688-576EEE311C0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2" creationId="{FB0C5E92-1FAD-E7BC-3DEA-15B9999C27E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3" creationId="{8E66F1F3-5170-362E-9F3A-8D18E0C7153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4" creationId="{557688F7-8C7F-4DEF-4FAF-8A3791107FB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5" creationId="{4340FA82-E6AE-1FA8-1D3A-DD8918D747F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6" creationId="{554552CC-2EF5-ABA6-5F5C-C8A50A55773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7" creationId="{45422AFB-2CB5-D648-5139-35188439EBE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8" creationId="{7D85599E-52AC-A4E5-1013-B915A510DCE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49" creationId="{03533329-476D-657F-5E09-03D51F15A85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0" creationId="{1D5E94C9-5EE2-0975-923C-67330E279C1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1" creationId="{83182233-1DD0-812D-6BDE-913C67E39C8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2" creationId="{CAD5C6EF-3F54-2B72-7E9D-874636F0FA9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3" creationId="{CB790EC7-DB15-7221-A5F9-153D119B8A9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4" creationId="{FE02B72C-022D-F9D4-9CEA-F5B788EFCCF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5" creationId="{687F228E-5854-647A-73BB-0BFBAE8F76C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6" creationId="{CB9C4985-8F42-7CA2-71EF-FA3661E9FF2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7" creationId="{CEE4B83B-5B19-9F06-BFFA-3E9275CF8AB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8" creationId="{56C63CC1-0708-F152-59C5-DD164110828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59" creationId="{37804C4A-E6AF-B88D-1862-3339EE7CCAF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60" creationId="{100A11B7-EC83-31ED-6068-98D1C98D1CF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61" creationId="{5894945C-90B2-2496-1B93-FB53C26B359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62" creationId="{F45F644D-3EFE-95B0-CE88-8805B806B44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63" creationId="{1889717F-F52D-B903-C097-9228256EE9D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2" creationId="{4419BB48-1A7E-AD3B-4F0D-F7AA70B5DFF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3" creationId="{E67D918E-5CC3-0D69-019F-F06D5568CDC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4" creationId="{8FCEDA90-440E-2AC9-33E3-04D1B3346AB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5" creationId="{2FE23974-6B4C-0566-0DE4-D463B84722D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6" creationId="{B205C2FA-BAD4-882D-CD5C-3141D95EF0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7" creationId="{A0AE1BF1-1F32-D112-8217-A22C99848A9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8" creationId="{833C4092-23A8-2B9F-2D51-C6B5E393615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99" creationId="{4A998949-9551-0D21-CAF4-8A443D6DABD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0" creationId="{7EDE8CEE-4372-C33A-C3E6-B9C61DBA715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1" creationId="{5471C14C-C7DA-8DAF-EBAF-B8F6A947EC7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2" creationId="{473B59B6-54BF-D430-0E88-D671D9CD7A2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3" creationId="{6FFDF18A-7CF4-0145-F874-9DD05EE53DA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4" creationId="{9CD5110E-9FB5-EA78-4EBE-A75EC114A5F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5" creationId="{C7C11029-7DE8-3F97-82A0-441C5504650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6" creationId="{C9790AF0-1349-702E-3798-2A9F976EC8F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07" creationId="{6AB090D6-7B08-8D0A-ABBE-3050E7B9B61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08" creationId="{E80447E1-BC77-E9E9-8B28-2047B4B5572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09" creationId="{BB7C8193-CD45-AB6A-05EC-A36E152C20F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10" creationId="{83383AD6-A60E-F90C-DC9B-DD98C72A699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11" creationId="{4955E441-C5EE-0450-BADE-4009B9BD7D0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2" creationId="{9BAF228D-4EE4-4243-CF1A-8BFB2701112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3" creationId="{163A53A1-6C96-F4C8-EDE4-B3C095A2749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4" creationId="{D2AF8C34-0442-6C20-B3AF-F8D1144D092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5" creationId="{4BBC7FA1-D713-7053-1D50-639A8DCC6E0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6" creationId="{FCBF4D25-4F6F-3192-DDA8-FC1BCA41B22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17" creationId="{1D7919F9-C40E-6D49-783C-0B9062DF661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18" creationId="{4B787C87-9CE3-AAF4-1AA3-D7BDD108F50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19" creationId="{389B57DA-6C0C-8CAA-BB1F-76217E71470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0" creationId="{4C416D35-DBE4-3D59-0B45-8264BF6E975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1" creationId="{2F2FC422-ED28-CFD7-9C38-90BEDDB9CFB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2" creationId="{582F3E30-C6D4-072A-F7D2-3AEC7FF75C9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3" creationId="{67304B64-DB9B-3098-F084-B967B7C58A8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4" creationId="{9AAD8973-C723-E9C0-CE7E-FE48D098866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5" creationId="{A4179C61-EFA1-4251-CED0-306053285D1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6" creationId="{9ABF25AD-CFFF-75EC-6BBC-BB1A7FC9212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27" creationId="{3C0C7C41-0717-6CFF-8358-F68D0832B9D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28" creationId="{D202719B-FFBD-731F-1AAF-91C0A01C49F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29" creationId="{C3B9B24C-3D4E-B4D3-AE5A-C5B98867990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0" creationId="{0ED6BF72-5F7E-762E-4AF1-6D1EAD010B5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1" creationId="{FA376037-FF2F-5724-7B15-9AC6913A359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2" creationId="{C9859555-4A8C-80EC-86BF-39FA210FAB6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33" creationId="{B94DB710-B875-B0D0-8B1B-5A483AEDEE7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234" creationId="{785FE5A8-758F-5A03-1D16-3840440D3E7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5" creationId="{8F783F51-CF1B-802F-63DA-EBB78E061A6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6" creationId="{36EA1793-ED02-B3C7-D465-3F38F97035B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7" creationId="{2A0690AA-AD54-C4A0-F112-0D255A84C73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8" creationId="{5C8BA967-0CFA-E3D8-1DCD-2BFC637E314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39" creationId="{3942DDD6-5DF8-E975-FA61-A72302375A8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0" creationId="{A570C870-7504-1D9E-81C5-0558AFDF064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1" creationId="{F2AA7F57-A1DB-5A28-C019-995D6880336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2" creationId="{BE3FC024-38BE-96D0-2B6E-553EB9CFD7E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3" creationId="{ADF28304-B805-D0AF-19EC-79A6BD50AFB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4" creationId="{BDB1B7C2-573C-CE8F-34C3-020BF1CD833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5" creationId="{2F34EE4C-3A4F-D636-A667-DB786EEAA6C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6" creationId="{F5AAA1EE-93E2-FEDB-7562-F01420DB3CA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7" creationId="{1AE2EC22-7520-D7B3-2B65-FAD51A2F1C4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8" creationId="{344D2FBF-E604-B5FA-E006-320B67A80B2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49" creationId="{DF495F77-8579-7DF3-E9C0-76A309BA6A9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0" creationId="{2C69B369-45F7-C49E-B68B-9E0E3E837E2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1" creationId="{0AC8871C-6FA8-35AD-D0B0-084DAFBEDFC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2" creationId="{2B6C8AED-C87C-1A6A-D129-D8F5D93E297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3" creationId="{249F5477-486F-DE44-EC31-8200EBD1DB7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4" creationId="{C6F766AF-2290-D8D4-F767-0C7B9F183C5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5" creationId="{799ED372-A7A5-3160-1BDA-5E3EE53DA4B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6" creationId="{0555D20E-C0AE-C97B-2C56-5CD6BCA9397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7" creationId="{515D9453-EAF5-4C66-9A35-D9A94577427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8" creationId="{78EA9A13-DF6B-5440-9D3C-9ABF7059918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59" creationId="{1FD6E97E-2704-5F0B-C8FB-4DFE4A7008B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0" creationId="{06FBBC75-E309-AD1F-5202-EA75FE6489A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1" creationId="{2A5BEF6D-BBE9-D462-6C2B-7DA479CA14C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2" creationId="{84D1FBB9-3FE4-32B9-9FA9-91AB9803949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3" creationId="{68813ED6-E5FF-0082-AE6C-FD92802E42D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4" creationId="{CE91F08F-015C-0500-D6EA-A9651FA0AC2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5" creationId="{96E25DB5-6345-FA7C-1DED-52FECF92190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6" creationId="{8CAD772A-44EA-02A5-606A-D971F1C037A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7" creationId="{98C2DBAD-93D5-FE9A-8327-806EA4E3D8B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8" creationId="{C7F85B73-1ADF-596D-7EB9-6F81B97C624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69" creationId="{6B619B29-3642-4D73-9ED0-096E1B5C4BE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0" creationId="{1F4071EC-77B3-F35B-8DF9-88FE18DE716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1" creationId="{0E33F243-EE6D-18FE-9F61-911441C61E8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2" creationId="{B6662724-3EEC-DB10-1583-B299A5F849E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3" creationId="{00753733-B38D-F13E-C737-EB15D611D87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4" creationId="{1E28E426-D14F-9FC1-08F8-499769DA889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5" creationId="{161B9504-54BA-A496-6AFC-C0072BE1D47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6" creationId="{241984F9-2005-350A-C41B-320316950F1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7" creationId="{4F4A9345-744B-206C-9EC3-BE088905D66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8" creationId="{566AEA80-E237-D5C6-94A9-0F59A17E211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79" creationId="{CF2EA989-42AD-3CFD-6093-D91CCEBB448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0" creationId="{883BB911-B568-1AD1-C573-6FC696CFE2C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1" creationId="{CD3F1FB8-8FF0-E14D-552E-1FE621D2FA1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2" creationId="{A9EEE8C2-7EAA-C186-FCD0-654BD152163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283" creationId="{1B2B2666-8E01-9556-CD86-32AFB13A7C6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4" creationId="{D06A5D65-06E6-97F3-C186-177C2B3C072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5" creationId="{1EC4D944-2479-AED2-D774-57B4A7DFB64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6" creationId="{E3FF1502-1339-5922-D18E-99A646C97A9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7" creationId="{646C45D3-2C6A-1659-BB61-A63EE30928C1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288" creationId="{0EBED5AC-3C55-9A60-3C37-2F8CD3794A3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89" creationId="{292AB01D-5CCF-79F2-1BF8-C2783C9EF0D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0" creationId="{2694E164-DCB8-5973-7ABA-2BF6C9CC571B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291" creationId="{4213FA70-6C98-1306-A029-00844D60D6A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2" creationId="{5423EC93-4607-E8F8-E5F2-30F73C1ED7D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3" creationId="{FBABEFDE-E94A-4650-9DB7-FC8C2F355F6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4" creationId="{2EDD2DDD-6C26-60F8-5B60-A6C84151E9D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5" creationId="{AF3E2CA6-5E3A-AB1B-75C1-8216B46D1437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296" creationId="{982627A8-4DCA-8C6C-4DA0-D7EFD7B2D42A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297" creationId="{2496EF74-286E-4629-1887-B8B852BEEF6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8" creationId="{A7108731-0C43-4D2E-D61C-313F643C2AB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299" creationId="{E9BAFB6E-8CC4-C2EC-4220-FDFDD8E7CB0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00" creationId="{0BEF8B7B-C78A-39A6-3E5F-98A20A68F13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01" creationId="{1CC1EC9F-BDBB-907B-F035-CBF43ADA677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02" creationId="{D8F9FE0D-0743-49F6-AF8D-A71794EEF0B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3" creationId="{FF6C40D9-02B0-5FE4-3C51-6A21C2AF3F9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4" creationId="{C100E459-A22C-78A6-994F-2E32EFE12E3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5" creationId="{757E6FDF-FC48-3170-2C15-9C73A71EC86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6" creationId="{88A0A6AF-A157-84D0-1796-6B66CCDFC75A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07" creationId="{D7C71FD1-3F28-AD40-247D-ACA8BE7A42E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8" creationId="{C6E585E2-E660-EA19-6B38-8C01B2A26B6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09" creationId="{36DA7956-2FD9-265D-776B-3E5596FFBC4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0" creationId="{F579F68D-0D9A-5A40-815B-2D6BB2CC94EE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1" creationId="{016255BE-87A0-FF18-C5F0-52B96E2C714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2" creationId="{75075043-D47F-9BF0-8A9F-C86982EBC5C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3" creationId="{EBFF61EB-BF27-F4BB-C93E-FB0B50A9F08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4" creationId="{08D4FBC2-A1F7-9FD5-21F3-31A0F1DAD79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5" creationId="{8F357545-4F9D-35A3-EA6C-697C1233340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6" creationId="{13DC41D9-2D82-35B7-CB20-0B9F2F5B2D7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7" creationId="{0B071F6B-20E6-FAF5-18E2-C32DCABE85D1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8" creationId="{28184E89-2B2E-C908-555E-CC987351F744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19" creationId="{562AC72D-95FC-1AA9-923D-CD48CD19B5AE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0" creationId="{B60D884B-1F6B-3A42-3E69-583FC0C5C89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1" creationId="{9D6014D7-1804-63E1-BAEB-FED412ED0B6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2" creationId="{EA895C57-F3E1-0D34-E5A9-267770AC587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3" creationId="{14D6B079-9E79-D45B-673D-04FE79A0B1F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4" creationId="{4C43E033-691B-C187-85B8-77E4EAAD06D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5" creationId="{2B808F18-C487-8889-CFC1-C533E51F6D1D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26" creationId="{22464D83-C4EA-312F-3852-D4B4008F54A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27" creationId="{11C38AEF-23D7-C6C7-2A96-CC8CB4FF8E4B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28" creationId="{976663CC-FDF5-ADD3-14C6-64ED2441254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29" creationId="{5C4E06E7-AD56-38A5-5624-794A47F667C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30" creationId="{449E94C4-13E9-28E1-6B20-4D3B6C4B81E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31" creationId="{43F3DFE4-6FB7-6B78-E2AD-12016FB3EF5F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32" creationId="{2061D890-F598-D661-035A-920311EA185E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33" creationId="{18350348-4D0B-A3E2-151D-B81B912F1729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34" creationId="{520F1446-3622-59BD-38D6-7F9EC715F08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35" creationId="{3F7B720C-B7E7-206E-4322-21B05515C9F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36" creationId="{97FA8AEC-586D-D549-1F29-D5DC51916874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37" creationId="{92E21897-2B42-64CC-6DA6-96517B01A351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338" creationId="{711AC487-E16D-A46B-1E6D-2C0D356B3B8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39" creationId="{66D208BB-21F8-62F0-60E6-A5E7ED3232D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40" creationId="{872B7B10-C200-0E43-791B-AA44DD7180BF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41" creationId="{82FF4F31-6661-749C-0F1E-C073AAB9563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2" creationId="{002F1437-D014-7174-D51E-D3798AC1F1C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3" creationId="{0C5A69E2-BB59-C989-2EAD-D04034087CB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4" creationId="{964A5764-053E-B573-8F21-771344CBDC7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5" creationId="{6BCCB48E-1B95-1621-8EEF-9B55EF88E0F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46" creationId="{F27C57E8-94EB-18EF-5D38-CBE83420F8E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47" creationId="{C8AD65AE-67E3-79A8-445F-5348104141D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48" creationId="{AD0107BC-3CC4-B1B8-B1DD-5A2848E3D47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49" creationId="{3E40A466-48D7-D793-6E00-599FBD0DA9D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50" creationId="{277D506B-EA0B-7E3D-3DCA-192EB9B3829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51" creationId="{5A5F9C64-D87A-DBC1-7C71-B02C7740D25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2" creationId="{7CB82DC4-77E5-98AE-0391-813906D2E70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3" creationId="{124B3BBF-BB1C-900B-433D-10953D03C75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4" creationId="{657D95AF-D531-0036-D56A-261E4FECFF9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5" creationId="{31A0FFBB-446F-9FED-4F2D-CFB39A08270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6" creationId="{90B417E6-E414-07AD-1BF8-68954AA12DE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7" creationId="{D1DE066F-9B42-5DE6-5833-E9928AF7C99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8" creationId="{7116ABBD-AEA3-A8D3-FE47-C77ED0AE5F0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59" creationId="{08C6BD51-74BC-A297-CA4D-99419EAC060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0" creationId="{FAA1E727-3F79-03A5-E31C-16F14A59855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1" creationId="{611619A4-40E8-B7AD-E34F-EDBCCE3AD79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2" creationId="{280A9A45-1B07-B484-5240-8009C6FD6CB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3" creationId="{A56F8350-BF18-6570-4E79-20184911A6A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4" creationId="{CBD7378E-738A-A3A2-DBC6-8B43282CEAF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5" creationId="{47401D81-5C06-5BEC-1C7E-C491A624D1B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6" creationId="{53F7EE60-1007-D8A3-F1A0-E5CAB1A90AF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7" creationId="{1FE95C09-242B-56DB-FB3B-87B86A09340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8" creationId="{4CBD2035-E3AC-BC4E-7FB1-17872951005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69" creationId="{E693C9B6-E979-405D-CDA9-D1616EA2260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0" creationId="{59CBE0DE-C79D-D3F5-8686-7B5DA230AE1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1" creationId="{F55F43F4-0DD9-0820-35E6-2E398FB25FF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372" creationId="{E69F7F7D-A7B4-45BC-58DE-D332EFA8A8F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3" creationId="{865D4C17-D066-9CBD-703E-D7C9DFE4692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4" creationId="{F162D88B-B7E1-91D4-D6C4-1257AB4E511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5" creationId="{6C0007DF-80ED-C234-19B9-AD2F2C9EA4C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6" creationId="{7E62FBE3-971C-6AE3-9F57-8BF4FC46926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7" creationId="{92631F45-24EC-B074-0D9C-0EE41C2FF2F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8" creationId="{EFC4F867-7B19-3BA7-2ADB-EC8C5A1437B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79" creationId="{DD1BE4AA-4E0E-AD51-F8E8-E28F757E689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0" creationId="{D3295DF7-5152-4E0C-9B62-0EF578D27BB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1" creationId="{ADEC91FA-396B-7CB2-C030-4F10DFCD8A0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2" creationId="{A61584AF-BD21-F7BB-0543-283DF2916C9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3" creationId="{5BECB48D-08EB-5215-EA87-C711E78CC0A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4" creationId="{A7D8C89F-5ADA-7F3F-B219-81A21EEA088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5" creationId="{59EB14A1-E9D9-D0EB-78FC-6DB305F2C62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6" creationId="{C52F9F3C-3256-7693-7236-6DD945367CC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7" creationId="{AEF27945-AEDD-FF3F-AF4F-2ED5D068E85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8" creationId="{6D08897F-1720-5436-B53B-C143C945C10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89" creationId="{ABCF4998-31C1-EDE9-F8C8-008CA533D83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0" creationId="{17812E4E-C715-21E4-61D4-8F0B29EFF3C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1" creationId="{45F23212-CA88-0754-C053-74561FA383C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2" creationId="{D4482503-D76B-937E-A700-DA3A3E15109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3" creationId="{AE1E914B-C27C-7E19-EF55-D71E0313B57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4" creationId="{91AAB1DB-4868-4D0D-E176-1F2F39CECB1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5" creationId="{3253E1C3-9B46-B85B-C0EB-8132F30DA7D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6" creationId="{5CB64404-6590-ED4F-F085-AA6D823EFCE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7" creationId="{F5B0CF83-F559-22B0-6328-4EA62368DEB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8" creationId="{69E8140C-591E-85E6-698C-FE6C7CBBB6C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399" creationId="{2F5AF5DA-AD03-FC95-00F3-C45701ADA1D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0" creationId="{9B947567-6934-F882-1532-CBED8FB13AD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1" creationId="{EB1BA631-671D-E177-7F8B-63542107A9F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2" creationId="{5DFFDA3A-B500-1BE6-0667-2A4E13FFB9B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3" creationId="{481088D7-10F0-ACFA-55B9-A9224D6A420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4" creationId="{776F9EAF-4B9A-958C-5229-BD67541B75E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5" creationId="{F43BBA24-8461-05EB-E429-5BFBD1C874B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6" creationId="{097FB3CA-AD51-2C98-E429-1A1B4E86D42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7" creationId="{112E2FF7-7888-794D-3F91-B848EE90F96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8" creationId="{8D929237-29E4-CEB0-3265-C90FDF7A355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09" creationId="{E3FE55B4-6E2E-2C81-39DE-E9761F849A5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0" creationId="{E5536886-3C5C-B6D7-0CF1-FD40F0F38B7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1" creationId="{0A98F362-99FA-320E-A465-4A23534F1ED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2" creationId="{36E8C4B2-F833-1297-951C-728E29C5450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3" creationId="{5E34B621-3654-0E57-0D22-5C2FCBBC69C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4" creationId="{F45C78F9-9D73-AD40-3C1F-E7062B69851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5" creationId="{F0C6EDE9-6B0D-468C-B268-F001F370620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6" creationId="{A5C865A2-5500-61BB-691E-C435EEA35F6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7" creationId="{3434E7A4-F6E9-7565-85DE-5A260F59E6A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8" creationId="{4D4B9593-31CC-6EA2-5C0A-ED9E9ED274D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19" creationId="{A63EC126-A501-1E04-1E67-6FE9EE50189D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20" creationId="{3467FB47-0D0F-93AE-13D6-379489FB17E2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21" creationId="{82B605C7-5D2B-1342-AE02-24B863523A7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22" creationId="{7E7C66D6-51EC-2D09-7706-36DAB0E81FD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23" creationId="{9EDE5029-7EB4-B411-D494-11CC41CBFCB0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24" creationId="{21A989DB-EA74-1A8C-0FEA-4A181E5857D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25" creationId="{5BA80264-BE72-2129-A80E-89AB53037916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26" creationId="{07563D92-FFD0-864D-F9F9-BCA49927EE22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27" creationId="{6579EE55-43A0-2701-B16D-B00EECFB7CD5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28" creationId="{FAB9A77C-B210-27BF-E270-AC121735DFB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29" creationId="{72BB2991-3527-E293-0110-BE95E3278F06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30" creationId="{8107C624-92CD-D9AC-CD5F-01A282706CA6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31" creationId="{CE21C197-CDB8-01B9-2F73-AEC1B0C02E4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32" creationId="{538E3AA9-025C-FD8F-17A9-A8EF9C691EA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33" creationId="{D8F2389A-7B91-BF87-4B26-3D96CD100D8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34" creationId="{3ABCB563-E8A9-7FDB-C56C-356DD09727F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35" creationId="{924ACA27-BA2A-6BC7-9A91-7E2E5B614A1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36" creationId="{88080691-094C-0B4B-60FC-14A8D4078B2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37" creationId="{D8BE22EE-45CD-1B59-7467-FDE21AA5CE1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38" creationId="{14975D56-B3FE-1149-055E-60C146B6C53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39" creationId="{216697D5-A715-47BC-4ADC-BEE9EAD9113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40" creationId="{4E95C56D-5CE9-0098-B4FC-D7CD3A6B590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41" creationId="{9FD7D5AB-CB34-3936-22CA-CCCC7D04C11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42" creationId="{B32014A3-D1BF-E70F-04B9-3B9ED451E55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43" creationId="{A6C3EE88-23FF-51A0-831E-6164784C6687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44" creationId="{EBBE10CE-5833-0B24-B9B9-D45AACC06BD0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45" creationId="{4A2AFCF2-F4C2-F1AD-45A8-996ABFA23FCF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46" creationId="{510F5503-FA56-A2C5-E247-6849A1960309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47" creationId="{2A0C192A-893F-30BF-ACD3-BA102CB2542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48" creationId="{CB693814-3859-773A-ACBD-E566F8ABA428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49" creationId="{88D1E638-0300-7126-3157-518D72E7AE6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0" creationId="{F7E07925-3833-4E79-C072-264F187F272A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1" creationId="{1A570F70-E323-A921-E068-21A196513E96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52" creationId="{34CD86AE-770E-FDF8-C848-E989A229DEE4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53" creationId="{C503B51D-0328-8FEC-1524-00C85E843EEF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4" creationId="{E5C033E7-1E4F-3D58-5E77-8CEBEFA21761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5" creationId="{7185FE3A-635E-CC4A-7111-485A76436D52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6" creationId="{9946F50A-97DE-0484-0FAD-BC446BC97979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7" creationId="{30D2DB6F-E9C4-B681-C8A4-6BBE621D7E83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58" creationId="{AF3DBE9E-B5CD-833C-E649-B296B8B78BF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59" creationId="{0432F1F5-6944-5593-A268-14AB5C5EF0E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0" creationId="{00ECDDCC-39C3-A79F-1816-CC2DEEF0DE4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1" creationId="{F9027937-1D13-28CC-3891-D9494DC88AF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2" creationId="{2E43D6D6-7122-2F00-CCC0-55ADDE45841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3" creationId="{3D7AC0F6-9D40-D2A4-58B9-C1B5963B226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4" creationId="{FEE338BB-8B3C-2807-54F6-449176A4AB8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5" creationId="{3613ECB6-0317-EFB1-400D-88DCF5B9833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6" creationId="{89319E9C-88EA-89A7-2EAB-4C1820B3F4A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7" creationId="{2463F132-7B26-C696-C203-3E4A7C9DD67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8" creationId="{8E15D19D-F9B8-8AA1-70F6-2EF835C6A75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69" creationId="{BF534BA6-A6E2-7DE7-83BB-8835F359C78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70" creationId="{F52C7A4C-A216-86CB-1A29-B328624C326E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71" creationId="{EF4AEFDE-D2F9-258D-C977-5F0378D84EFE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72" creationId="{0A1A0D91-52BC-A17C-DE1D-4B2A32F741FC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73" creationId="{E97DD67F-7283-80C0-A381-203A8F61C2E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74" creationId="{EDD2EEBD-77D6-635C-1BA5-1A730E3DB657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75" creationId="{C9CF5623-0F0E-F195-36FD-A74F85C6C27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76" creationId="{A589BEB5-C546-123C-ED26-FBB59BF1C06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77" creationId="{899445EB-2FCA-10EC-26F9-1E35DC213B8E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478" creationId="{CEEB1025-8529-8617-6103-25909845C16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479" creationId="{EE33A75A-D178-2857-EB76-44628D6247A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480" creationId="{4787BEF7-56CB-97A3-3702-7E7E12DE3AD1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81" creationId="{5E194D8A-8983-7543-7F90-42BE261A325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482" creationId="{5E4A6317-1C66-EDED-676A-BC366F16845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3" creationId="{E974CDE8-829A-9E6B-42AB-74993C01B1B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4" creationId="{A3DDC9FB-5A94-5EA0-2E69-1211949D256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5" creationId="{D59F3E4A-8F58-A0AF-FD60-656434BD760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6" creationId="{3AE5AB98-8C7C-00E3-3FF0-1CC285FAAA8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7" creationId="{D27086D4-3691-09E3-C4AD-FA522E637BD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8" creationId="{2D025747-327C-AC29-F4C7-42C9D02F464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89" creationId="{FA708F08-B841-5114-795E-1083887342C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0" creationId="{65440DCD-04C3-855D-8BEA-480CCFCA1ED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1" creationId="{481808A9-EEC1-86C2-78F4-05B65FCABB8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2" creationId="{6D489E05-8AD8-627E-B11B-23B350219B7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3" creationId="{950D4A08-F49A-F8BB-B204-C0FAB5F7696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4" creationId="{87C1233C-8369-33AF-BCE1-5A54C831F2E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5" creationId="{AE174173-CC31-4DCE-5D1B-083CF63C6166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96" creationId="{6A70784F-429D-0362-A0AD-CEFAF3ACDDB3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497" creationId="{7AE92580-EF9C-187E-5348-BFD4B8DD7FC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8" creationId="{36992742-E393-5DB0-0F24-A7F8C1F4975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499" creationId="{BA879E1E-23D4-B8F6-F38B-064CA22B6F32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500" creationId="{1C92236C-EE6A-ED5D-632A-856D1496D37D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501" creationId="{43BAC54F-4AC5-FB8D-52E2-FFCF46A2C53A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502" creationId="{33409E89-4990-942C-84FA-037960B43C9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03" creationId="{51DF7B31-130F-5CE9-669A-EBC8D06FBD0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04" creationId="{6324231C-9415-535C-1F63-F311E349397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05" creationId="{D6EB83B5-1076-40E3-940C-B7EAE226B97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06" creationId="{27AA36BA-3A68-C55A-6F3C-1D2D9219BAD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07" creationId="{71115E4C-BA5B-BE07-BA5D-71C5903932CA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08" creationId="{7FF700FE-E0DA-51EC-FFD8-78871C9C456E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09" creationId="{1317120C-F242-68A1-0893-220877F927EC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0" creationId="{600AD722-64F4-59C8-4440-EDD4AAF2ADB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1" creationId="{F9FC47CD-EB76-6816-EA35-5C36008F80FF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2" creationId="{E409008D-A1A4-AA26-3976-BE25C70EDED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3" creationId="{583FBD07-6D2E-D119-EB05-42918403DE42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4" creationId="{775F3991-F6DB-CB6A-4A36-423814A8E862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5" creationId="{7D83C8F2-ACC7-334F-148A-774F77232C76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6" creationId="{70D06B09-F845-CB04-64D4-E91A4A9DB511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7" creationId="{3C8F0F1F-8260-A528-4C87-2E32D45123E2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8" creationId="{0D212D47-0C10-67E6-F949-F523E648844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19" creationId="{C2CE532D-D0AC-BFE1-F7DB-D7E5B64D57F3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0" creationId="{1A893FB9-BC15-0FD9-5AF2-A6AFEE60D0E8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1" creationId="{801E361E-BDF8-8D52-A099-F05F59E6C9BC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2" creationId="{B3DCA770-8D6A-E88D-37CD-A5C3C373A64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3" creationId="{042725AC-0412-9A77-CDAC-3A3E3AF1D42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24" creationId="{DFD098E3-9768-22A2-D013-6F64019D92B7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5" creationId="{281EBEFF-075F-67A6-068C-E8DF65192D9A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6" creationId="{2A1C9FE7-BCE4-BD22-76D4-4EA9885F4BA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7" creationId="{0BE8E037-5876-4F20-DB12-935942BFE1E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8" creationId="{B1291C59-5FDC-B5A9-2C5C-8DE2523410BB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29" creationId="{059744B4-D36E-6B4F-FA2B-F904BF151C2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30" creationId="{C76D7F2B-CF7F-BC23-052C-CD58CDAA7919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31" creationId="{1275BA9F-36BB-7CDC-5E4B-DA0AE4ADF38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2" creationId="{FB305046-891D-AEA2-C764-7368A7D9F08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3" creationId="{CE998BCF-1E28-52BB-97BD-605CF28F7F1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4" creationId="{ED006081-5718-A46A-1719-89DA0B5778A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5" creationId="{C1675F4A-DDFF-A2FE-EAE1-3F86C71F4ED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6" creationId="{A0E75F6E-7EF1-D395-BA4C-BF9C20EB16E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7" creationId="{7F0A4DD0-5F54-A21D-68C1-47ED93B0891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8" creationId="{798B8EC1-C9CE-4B9F-2C52-87AE9CEAE28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39" creationId="{84B69D76-60F4-5A49-3737-F824CBEF184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0" creationId="{6D3449FA-AD1B-9B40-7B7E-B0CE709F8E4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1" creationId="{5D3F4CD2-2FD8-26DA-0D25-2CA9FD71EE1C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42" creationId="{25325FB5-6130-6588-A1A6-A7025E234E5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3" creationId="{DFE41AF6-B2E9-47A6-783F-EDC25BF038A5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4" creationId="{AE70337A-5C54-EE97-11D2-8F1B4081F61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5" creationId="{320CCEF3-B7E0-D5BA-CA11-E2D1A6AA174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6" creationId="{57400964-3768-73CF-40A7-D036C28BEE1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7" creationId="{BA46A98A-9AF3-F3B3-1FD3-079145D6E08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48" creationId="{48B19FCE-3F44-A52E-DF98-CC1460C074F9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49" creationId="{EE902E0B-6964-5524-3D7E-831B2EAC47B4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50" creationId="{EAA49E4C-AFC0-2EE1-ADA1-E0B3ED363ED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51" creationId="{A31F3201-F08E-7100-976D-AA457E470D80}"/>
          </ac:picMkLst>
        </pc:picChg>
        <pc:picChg chg="del">
          <ac:chgData name="Cimer Ádám" userId="8a923def-9a81-4ceb-8db9-424f2c16c007" providerId="ADAL" clId="{EBAB697D-D0C1-4C12-BAC8-A0BA9B60B910}" dt="2023-03-07T21:24:20.351" v="269" actId="478"/>
          <ac:picMkLst>
            <pc:docMk/>
            <pc:sldMk cId="419211473" sldId="260"/>
            <ac:picMk id="552" creationId="{297DEF72-3B21-8D67-005D-9C6EBA0D24B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3" creationId="{7724CEA5-E433-F6DD-B90F-6618B7F96AA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4" creationId="{22124EA5-48A6-7EF4-AC11-A2D03B25864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5" creationId="{59D84182-CBC3-1721-00E5-EDB414C4753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6" creationId="{93E2AFDF-9A0B-53DD-EEDF-53A68015063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57" creationId="{6A07C7CA-BA08-56F2-F293-6470A0E6ACF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8" creationId="{298B1474-2A20-F3DA-CFAB-B2A7C1BB604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59" creationId="{0DF2E413-6F54-EB28-D4CC-3D79920B119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0" creationId="{BD4BF267-EEA1-6D1F-8160-1C943C4F316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1" creationId="{7004BC00-4E8A-A210-41B4-8ADC5FBA7FB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2" creationId="{5E410D30-D333-9B03-5DEA-DA82B4CE058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3" creationId="{9800F2E5-0271-B766-6EA2-EED03EB1356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4" creationId="{692CEB75-E1C7-A9BC-CAAE-AA4C6D96157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5" creationId="{1338D83C-A221-9C97-DCA5-BE17400F1B3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6" creationId="{442535D6-B349-0D80-A3A5-61AAE3886E3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67" creationId="{7C94E722-664C-3EA4-FBA2-1FC8B07A2BB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68" creationId="{E57B2C80-01CA-9EE8-544F-E2371DA72175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69" creationId="{2DB4C304-C381-C9C9-96B7-7B6C6EB2F95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70" creationId="{EE068B82-CBB7-0BD2-F106-47E5BF70407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71" creationId="{E8A661A9-B926-88F5-4676-427BEC842EA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572" creationId="{E184E6E4-E943-9628-7325-61CD2C92D57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3" creationId="{B0FFBDAA-F3BE-C272-224E-6E20D15AEAA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4" creationId="{2A66342A-6920-4C6E-CB4D-0E1509699B7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5" creationId="{063C3B5D-CAE0-A2FA-4A85-131B8DB41A2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6" creationId="{59912021-E6C9-DEBE-3A8A-788C7192ED6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7" creationId="{1F511FAB-1AB9-5D44-7A2F-817A54B0DEE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8" creationId="{C8CB60F3-31C4-EC46-C498-147DA23AADB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79" creationId="{8473219A-3B16-DA43-9678-047742BF775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0" creationId="{660EE365-F347-2F17-7A74-1BA951AAAC4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1" creationId="{89345C73-43CF-F073-485F-FBCDA2F22FE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2" creationId="{1CDF1D73-0CC5-A616-A0A1-23406CA39CA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3" creationId="{B4C8E9DB-328F-64B8-B320-B1184524F8E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4" creationId="{CAC9E9C1-040E-E1E1-5224-FBBD5944E7E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5" creationId="{6B9F8B0F-B2D5-719D-54D2-27625590F9C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6" creationId="{1FFE260E-FEC8-3200-98BD-69B0ADB1F15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7" creationId="{0E23BF31-9D9C-1868-F8B5-87E9186C865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8" creationId="{5E7271E5-50B6-9C93-63DA-5C674CD782B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89" creationId="{BF391148-0ECE-8DCB-6B5D-0BFCAAEB4B9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0" creationId="{FE8DBDF0-D8C6-1AA3-BE43-FC8C09869FC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1" creationId="{7E3EF4C0-D0B8-4218-E3F4-E6F29A9CA12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2" creationId="{1A9C5EB5-343A-1D0E-A5A7-ECFF966EFBF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3" creationId="{BD1F23DC-F6B1-EF89-42D7-073F86A97E3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4" creationId="{2EA52231-3E29-2EFC-E30E-823FF68F135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5" creationId="{9F883B84-FA7E-4560-8E2B-B1DC6072EAF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6" creationId="{AD5766B2-3B2F-859B-B852-CCDED174BA5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7" creationId="{FF282196-11DD-8A24-1444-4C9D4A9A97A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8" creationId="{6F021571-08DF-37FE-AD13-77F023FABB2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599" creationId="{77E1E943-1714-07A7-A6D8-2FCE1A74BA0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0" creationId="{D3919900-B55F-6204-C6B8-929ECEFAE0F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1" creationId="{83F58C95-E26E-B84B-1296-47963ED23E8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2" creationId="{8B5800C2-A911-00F4-F433-17F41C9C941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3" creationId="{A1D725A5-20C0-4748-5AE4-F3E549BDDDC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4" creationId="{6AED0158-3824-9DE6-ADAB-7EB05D81383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5" creationId="{01263574-5348-CCF2-2246-1FDA51C8F67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6" creationId="{0504AB0F-3692-FA9F-A59E-976FB85CDC3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7" creationId="{C4863AF9-3215-209A-F79F-5E42EA1809A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8" creationId="{5AE283A9-759D-D331-D47C-6D3D954149A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09" creationId="{9B4C2CE4-40FC-5529-967A-2482E4E2A72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0" creationId="{E28500AF-5ED3-3DCA-4356-D09619C6A91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1" creationId="{6DDAC598-6E56-07A0-FC66-060BA21D29B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2" creationId="{8FDDF4FE-495A-EBDC-5FD7-2E023CD9A5F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13" creationId="{7214BE5A-97E6-924A-EBF7-D329CA48979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14" creationId="{7F8CE526-43CB-00D7-6F79-50DC1290718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5" creationId="{BF84AA0E-A6E5-68C0-D1CE-E0856A53CC7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16" creationId="{81720F05-8492-32BF-C96D-2908A3B0871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7" creationId="{5FB39009-21AB-CA2B-B92F-A95EA735A34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8" creationId="{C1FA7BE8-F859-A9A2-D784-17D6CFB2F78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19" creationId="{955E54E5-434A-03B1-0D5C-05AB6D2C4A6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20" creationId="{D2F73D4D-1F00-8CBA-69DD-0D4631D671D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21" creationId="{7058C580-634A-A4E4-E3FE-06D83CA03C6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2" creationId="{8DECD067-4AB8-80CD-0586-8A6B0825944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3" creationId="{85704E89-2AF8-4EA1-4C21-B1824B18204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4" creationId="{4BAE4E41-D2FE-E09D-AC2D-13BADDE0595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5" creationId="{D8460786-91C0-2566-6247-13331E729D9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6" creationId="{9D2A12B6-C6AE-8E5F-D812-14BE007F500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7" creationId="{7C539C57-C851-C285-D1FC-8EC6B902E89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8" creationId="{28159AFC-8CDB-EDE1-68E5-C5719CB96A9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29" creationId="{A7F9DF09-8649-6DC1-3C34-784D97A897A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0" creationId="{C4331444-2A70-3507-0DB7-0336A5C5E6A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1" creationId="{5C0F48C8-9836-1B30-3EE3-A7A57B5B1B1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2" creationId="{10D13B48-3BD0-B338-B174-65AFFA584ED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3" creationId="{9B0FAE88-92BA-9D3E-D39A-0BA5D7582E8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4" creationId="{EE678DCA-A02E-1B32-3500-30E45193D65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5" creationId="{E9D35043-07A7-D0E4-7211-A45C5530E3D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6" creationId="{70E54410-00C4-570B-DA55-F9BE2A9B38C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7" creationId="{838E8E98-0320-8C30-5F9E-69AFDC32F21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38" creationId="{817C77FE-ABEF-9DAD-F799-A19A24920C5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39" creationId="{296D9A77-73E1-F2A8-6106-C09A90C658E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0" creationId="{2DD612FC-50FB-4713-AECB-B4E4B97C10B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1" creationId="{CBAF0A14-1A4A-2A1D-F976-D653ECDCEC7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42" creationId="{7C55CE65-083B-789F-3293-B761B069AA9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3" creationId="{51B8339D-065C-2ACC-ED7A-D1133A09882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4" creationId="{6C2EE9DA-8ACC-EE4C-4787-33346F99EF9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5" creationId="{E17938B8-AE3D-9AEE-AC75-F657B2ADBB8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6" creationId="{81CE72C4-82CA-874B-2F14-2784840EB8C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7" creationId="{BEC3BF4E-FDAE-97E9-4093-9E55A61005A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8" creationId="{D0EB8958-CEE9-3BFB-CDE8-E3F136C4417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49" creationId="{5EA74CAB-24F3-83C9-21BC-793B81D5EA0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0" creationId="{928B6C4E-DC6A-13A4-854C-1E7729D9578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1" creationId="{E2533455-CFE4-331E-DD46-2CB5917AECF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2" creationId="{828E0528-161B-17E5-9ECB-F56C3D2DD24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3" creationId="{9B4F6646-22AE-EC81-87D4-4D8BB565970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4" creationId="{8B7FBD67-2375-16A4-06F5-715D3CC9303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5" creationId="{F5E6BA66-0BAE-1D55-73D4-C6EEEFA5881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6" creationId="{3B4998B8-46C6-9F5B-A20A-DF2031D6672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7" creationId="{9363DD39-D186-988C-C695-C4DEC223202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8" creationId="{812E3030-3765-59F0-DD86-727CC8F12B0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59" creationId="{E4C69CBE-2CBD-4FAD-99E5-C4C432ED672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0" creationId="{D1237381-98E7-5AAC-B78B-8E522D12B40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1" creationId="{35738BD0-BE44-F38A-7C33-798E9BF1E58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2" creationId="{374A1507-31B3-C93C-401C-5AE046B2ADC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3" creationId="{93CC4EE6-F4E8-16F3-C471-9C3C17196A9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4" creationId="{F065F61C-6EE4-385A-28B2-507A5D90234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5" creationId="{634BAC3A-EAF0-8808-EAF1-1100BD8218C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6" creationId="{064AAA97-F44B-1167-7A97-761C8D85573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7" creationId="{2C07D2D7-5128-54C6-3265-27E9EB4BF4B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8" creationId="{0E92C502-00DD-25D7-0F5A-B86FFB0756B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69" creationId="{2792E18A-B309-FBA8-13C3-34AD64CDE77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0" creationId="{89A1FECB-B754-06E1-0B89-8D984F8A9C6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1" creationId="{D20D682E-AA2C-9E64-4195-6D76EDDEF05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2" creationId="{47652D82-B065-BC1E-09FC-3AD29AB53A2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3" creationId="{74B2E29B-0F18-52D4-E853-0F935017BA45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4" creationId="{D0C5997E-6131-0DE2-944B-84E401C5DE1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5" creationId="{B9CE0869-F43D-D16C-C91C-5119F59A2C2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6" creationId="{C2503681-0C54-549B-CB50-D541C5F4ABF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7" creationId="{9697E08E-4A35-9C75-2DE1-4CAD11CED22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78" creationId="{4999DAB9-A94E-2B9F-1ED1-BD07E25F5A5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79" creationId="{F4651528-3F9D-189B-EA0B-9459A714F4F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0" creationId="{BC840BE9-1530-94F9-5856-FE58E754682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1" creationId="{46D605B2-0D4C-C694-3318-C179B1E8911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2" creationId="{3393CDB7-C7E4-A227-51E0-E6BB48B6633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3" creationId="{84BFC244-ABE0-E04A-F971-4BE2CD8CBCD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4" creationId="{7B5FF061-A654-D4B3-10BF-05BC82E370C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85" creationId="{72753496-E79D-DB9E-1EA1-A9F4D9F0781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686" creationId="{66590C0A-7695-7E1E-A906-C21122571D4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7" creationId="{861045F2-1900-0269-E02B-44C894FC7EF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8" creationId="{31613FB1-1EEB-7394-0D6D-315996EC9AC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89" creationId="{63C35D23-3CED-1A5E-363F-5B08E044668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0" creationId="{7B74314E-7B69-55A9-290D-481A53DE7CB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1" creationId="{CCF27EE0-8A40-3667-B81A-900D7291069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2" creationId="{6BDB1633-2E34-2CBC-AE95-DAABF30A868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3" creationId="{A233657E-31CB-71A6-21E8-925D58CA7B1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4" creationId="{1B2B016E-7167-FDE1-66BB-6B55E3A59CD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5" creationId="{0450C6D7-FEF8-D3CE-4BAD-EED14860AB8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6" creationId="{D4F7DD63-B2A9-B53D-DEF1-6C289C70B3C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7" creationId="{D357EF9F-AEB2-871E-8184-2227A602B20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8" creationId="{5CB943E5-8B4D-7084-5827-B20A7501309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699" creationId="{3A3F1075-E87C-CDCF-AEFD-A8C468EAE49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0" creationId="{B17BA591-28FB-8620-A752-0841DDA4C4A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1" creationId="{45D6269C-7DB0-324E-D0A9-86C32160F89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2" creationId="{2BF4A11A-12AC-D9F7-2975-DC6575C3C20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3" creationId="{F07FF6E5-6D2F-FEBE-733C-18DCFD66547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4" creationId="{FE32CD9E-93CE-36D6-F15F-052FFA29204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5" creationId="{8CEDCA87-A392-B804-2411-57D03136D975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6" creationId="{30E44264-B38F-F130-F10C-346EFF36D57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7" creationId="{656E5467-C8ED-DD3F-0F45-948B1B1C3DB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8" creationId="{C0AD2867-ED0F-693A-421F-62AC3839E61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09" creationId="{BA87FB22-EA9B-88D0-2A8A-E2799C54363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0" creationId="{1FBB707C-D94C-F888-648D-89719B67DAC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1" creationId="{DDCC5C9F-2F36-DFDF-2924-806F87A651D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2" creationId="{1C5CDFB3-3F3A-FE84-DB0C-A901DEE43D7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3" creationId="{F0736105-FEC7-4613-59AF-196A51B9119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4" creationId="{0B9A7209-0041-C775-5D28-F6A611CFD50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5" creationId="{797FF9B1-2BF4-528E-39B9-5EE4A5CB968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6" creationId="{B82AA4CB-1A43-B49C-A560-0792DC27BC3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7" creationId="{444AFCA6-A153-4152-0D37-2D84F5B8111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8" creationId="{7AC725D5-A5B6-CF56-CE73-AD0073AB763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19" creationId="{A471DC4B-77C6-A3B7-951A-149D3C23C3B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0" creationId="{A49344B6-FD48-AD9E-4016-ACB30434585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1" creationId="{18AF07FA-BBC9-1AA5-5FF4-2AAA1E00E5C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2" creationId="{74DEB8BA-9921-5124-963F-85EDC893CC3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3" creationId="{C80A32F6-7CE5-7A3D-E7C6-AA4168B935E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4" creationId="{2C301CF7-04B7-D721-81F3-74F1C514DD4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5" creationId="{E82A5AB9-E5D9-58A2-A53F-CD7E12D8C3D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6" creationId="{E6DC838A-3C89-F523-6F0D-0E899F1300C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7" creationId="{B2AB76F0-2691-E638-82F5-50C64F7823B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8" creationId="{5F6E337C-BD78-2647-AC09-E3C8863DB56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29" creationId="{685FC37C-38E9-66C2-0578-A64B964F4A0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30" creationId="{ADCA0AE0-3916-B8B8-9F35-0D94A655E8D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31" creationId="{0A075AE5-F9F4-F131-4B8B-52C5E78348B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732" creationId="{0B082212-1A93-1ECD-BDFC-2EAD954AC01A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3" creationId="{F69BFBE8-9E2A-48C6-449B-E33D585789F3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4" creationId="{828C88E6-ABDF-73FE-B3C8-585D290D7D3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5" creationId="{49C34817-DDF0-27A7-DAE4-8AC4EF07AE99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6" creationId="{FE70C752-A59B-0562-721C-A191B4B0085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7" creationId="{697B00A0-F30F-F437-C9E0-03BDB0215C8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8" creationId="{72B0D47E-D07E-A0D8-6023-F4170D0A44D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39" creationId="{0F1C1256-09A7-E694-854E-1D88449F9E5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0" creationId="{31C9C17B-6610-81B0-4280-560529243FF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1" creationId="{829E4233-D757-1A6C-3FEC-3E185D8324B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2" creationId="{DAAA4B1E-F509-98D8-FD45-895ADD3B2335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3" creationId="{11C2B3EE-6B1D-1F6A-0AEC-87E14FFC29A8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44" creationId="{99ECD249-F128-AC44-0D79-05F58BB52EE4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45" creationId="{9145BFFC-30BF-0D13-AC7F-071808156DA1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6" creationId="{129B859C-8B5B-96D8-6D5A-E0222E8CE58C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47" creationId="{2300C995-F83D-A3F0-595C-AB7777086568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48" creationId="{64F9F161-88B8-8225-A9A8-3636813DCEE5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49" creationId="{1D2AAC81-3B75-2AA2-CB7D-BEA624E3393D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50" creationId="{836827AF-C4E3-80EA-B15A-6B3A04BBC9D9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1" creationId="{037D23BE-5485-9EB0-F482-1C0965D03D29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2" creationId="{25C1C056-CDCF-AAFA-268B-0D6F5197D43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3" creationId="{3EA9B8D0-A768-9371-0196-FA7465D820D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4" creationId="{78C72475-2627-4DF2-612C-C4DF8651DC6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5" creationId="{1A72258D-B346-0A84-686E-CE50F1089591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6" creationId="{E1FF8BCF-B734-26A5-407D-5F4084736D7B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7" creationId="{219F6795-7629-0219-F7B5-FCBCC8A5477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58" creationId="{E6950692-1326-ACE9-7E74-63583BF215D9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59" creationId="{A85F403A-808B-16A5-FAC6-48C0F22D69C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60" creationId="{E1C252C0-174E-C153-4F34-7B5132BF5812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61" creationId="{5FE5C8E2-3937-7C41-0D9E-F22FF3B559A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2" creationId="{4339D7C1-97A2-2C64-36D0-21FC9D0DC14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3" creationId="{B6B806D3-170C-0783-9D2F-C4035EE0E07E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64" creationId="{2C54FF44-08FF-EF32-359A-77DBF8F1AA0E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5" creationId="{0D76316E-8321-F156-282B-A5BDB85145E4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6" creationId="{DBBBDE79-C912-10A3-183B-782860C6E25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67" creationId="{06F7C08D-3057-F56B-44CE-E2CDC4F191B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8" creationId="{FC93FC61-AC8C-A287-6BEC-9E8CF4AADAD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69" creationId="{D69AFC93-A78F-D8DC-ED1B-8752413096FE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70" creationId="{8991C85E-DCED-3A12-3813-3C512B8C9D8A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71" creationId="{ED367C8F-A755-C578-AEE9-57A7300B265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72" creationId="{63D0BC9D-32F5-0911-137A-0A5CE523E3A1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73" creationId="{4BA382AC-4D5D-9436-728E-ED78FEEABEF1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774" creationId="{BE9E0D3E-D96A-422F-CE9A-02F6645A25F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75" creationId="{40782565-429F-D0AE-3D1C-D8B0BBD1245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76" creationId="{8BE7429C-3E47-41B6-6EA7-2D3273A406A7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777" creationId="{E601258A-1BF0-5BC7-B3AD-5C92674ABB9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78" creationId="{FFB97328-87D4-3CCD-CBD4-6A394875311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79" creationId="{DD902997-67C2-DAE2-FD5A-CB42351106F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0" creationId="{F3183CF8-E6A4-F045-2206-933F969008A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1" creationId="{848AE1D9-ECC7-E68B-0B81-15E3B085F1B1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82" creationId="{3347D028-C88D-BBD2-7594-196C71F2F33D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83" creationId="{7893EF49-02E5-423F-49DD-18EFF4DB802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4" creationId="{6CB4107D-D6A5-5DBB-0EDF-BF0CC391417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5" creationId="{AAA9ECA9-A15D-E661-9E7C-DF8164B5364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6" creationId="{3FCFDF44-1283-02D8-FEA8-A2F75947E97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7" creationId="{34CD2A67-4247-F8FC-1514-FA6A45CAAD8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8" creationId="{61B591D6-5304-314C-4CEA-B3B69FB5828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89" creationId="{9CEA7C3C-7C6A-4D2A-D4B8-C6A00ECFC82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0" creationId="{23009FFF-292B-093B-6A02-2A055A68441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1" creationId="{D6D0B6F3-0F78-825A-7352-E84D3020F45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2" creationId="{E963D742-5EF5-D632-12DE-F55DFA1C007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3" creationId="{057BB0B0-6B44-2269-E8FC-86FEFFF0C5E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4" creationId="{756DDEE5-86AB-881E-FD85-3837F7085F9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5" creationId="{938B3A8D-AEDF-740A-C157-48A6A7D6319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6" creationId="{A5470D0D-90BA-6C4F-C86B-6750EEAAEED1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97" creationId="{4527F515-1946-B20C-D7BD-9714E4F514F9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798" creationId="{786C5282-C367-FEE7-131F-9EFDFC4F48A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799" creationId="{DB080F44-FE89-0B5C-2836-A59923EC392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0" creationId="{60F3B30E-3809-E1C6-4738-FF35F44426D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1" creationId="{430676B4-78C7-3CED-05F5-03757099AB7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2" creationId="{BFFE7785-6055-23D9-D777-702CFF8955B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3" creationId="{C131854F-A236-B66B-6664-D14A0CA3A97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4" creationId="{C380C4AC-16CB-98D5-C02A-6099CAD31AE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5" creationId="{CBAA04ED-9A72-1329-419D-553D25277CA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6" creationId="{EEC7E527-5E64-B2B5-1D64-68C188A72DF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7" creationId="{7F965657-2E9D-7F12-4307-8DBFA909875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8" creationId="{B0E94356-7463-EAA2-6E75-4BD110C1359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09" creationId="{983BDC0C-8855-2F80-EA32-538F046AA11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0" creationId="{EDBC4139-4024-C7A5-31FD-3B777DDD9C2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1" creationId="{268863C7-DFDD-6F6F-0454-19F0B3D2B09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2" creationId="{B5C2148A-D26D-4C78-23B0-3EB32017934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3" creationId="{088A5C9C-24AE-6C1B-41B8-6B46BA24DE4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4" creationId="{FECC210F-6D12-59D8-51D5-DED35A7C95A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5" creationId="{9AF2CB7E-E055-C5D2-A720-E09ABF00633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6" creationId="{405283B6-3686-A6A8-70AC-7811076686A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7" creationId="{25C78DD4-9706-9362-0EF7-2E0C211F31E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8" creationId="{9089E4A8-5647-0E8A-C8CE-6B64B2557C0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19" creationId="{D5889558-0D8E-1C6D-6EBA-C5F3103DE4E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20" creationId="{355395F7-AF10-627D-BBF3-BEDDCB795CA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21" creationId="{3D1A8DD8-CDD5-68B4-BF57-AEE5D0156BA6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822" creationId="{F58773A2-C6A6-A020-52BD-CE3073D105B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3" creationId="{E9B75FE2-0F37-8E5F-2E50-FC9CAD1A64C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4" creationId="{6ADF3954-DF1F-0447-22A9-37B5072BC892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5" creationId="{BAF80AE6-BB4E-CD06-E3AA-4969A8BB57A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6" creationId="{04662EF8-C248-C8BC-7991-90F659720A7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7" creationId="{4210789D-DD50-1797-A966-C286B5993A20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8" creationId="{E729D13C-DC3E-B887-275A-1244F717384B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29" creationId="{65BF531B-F8EE-54EE-01AF-8CC9C36BE616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0" creationId="{C04C30F2-9218-B965-4DA7-C6892A2220B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1" creationId="{6EEA63F1-C7F5-3C7C-A66E-60968684FD3B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2" creationId="{AF2F4567-CCFF-7840-7E89-311F4B113AA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3" creationId="{0734BBFF-2639-49F0-A5BF-C20BD0BCA1FF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34" creationId="{20A97067-77A8-9BEB-0CE8-D8EF48375D69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35" creationId="{8EF7CE9E-FA54-6BF6-0E68-5FFC0F3B99CB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6" creationId="{DA7960AE-3FCB-8A48-B3D1-85426E72AB8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37" creationId="{12F4218A-AFB8-8BEE-06C9-EF9C1C0791D0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38" creationId="{2D0776F8-0CC8-C8FA-E857-0EEFAF7D356F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39" creationId="{D3E82D6D-9E15-ABF3-9948-3EFCEE1B734D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40" creationId="{4F518B67-64FE-6EB7-373F-A5FD348DA691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1" creationId="{69343769-C628-C573-16DC-EBD91A67D2D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2" creationId="{722AF42B-0195-C35E-C10A-6A57B37C36D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3" creationId="{E657A227-D9A5-215B-5BB7-F272F7C8C4D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4" creationId="{038631C7-ED8D-98B9-E94F-7CE41DE2ECA0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5" creationId="{6087B19B-7F51-4519-E4E8-77FB5BA49652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6" creationId="{1682FCED-D73D-69FB-6B07-CC2D3DA5F37A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7" creationId="{DD2A1D8F-7259-AA79-570D-1898ABF584E0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8" creationId="{3431F3B3-BFB0-F30F-41B6-47C31EED6776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49" creationId="{EB23CD03-676E-7044-4AA6-F9FB6AA24F20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0" creationId="{01A83128-0DA8-3A92-EF5A-3759F48B532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1" creationId="{698A9A54-6DC8-585E-A874-61D6BA09F510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2" creationId="{C6222956-A16A-1863-2188-89DE59AAD2C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3" creationId="{CA0A4E14-A587-AD89-37DC-928A7D05DF2C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4" creationId="{8777DB44-674E-B804-1945-F2719216820E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5" creationId="{5E27F62C-16D6-6B66-2B87-6F876A2703BE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6" creationId="{B56E8441-DE33-8716-8833-B3D5B2B6DC6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7" creationId="{56A7C977-2305-98FC-569C-4A4202779B7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8" creationId="{7F1681EB-8FCC-6FCD-93A2-6E2EE4C5DCB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59" creationId="{3D005A3E-B626-108B-EF08-CD8A866554B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0" creationId="{43E5C76C-4883-4610-2C90-4C8BAFA05F4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1" creationId="{AF3AF958-944E-ACCF-1DF1-448C682B6FC6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2" creationId="{85D96569-8E3A-F244-98EC-15D56C7F8FCD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3" creationId="{CC2142B1-37B1-E5E5-98EE-475C8474BB2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4" creationId="{D66663E5-C931-0C9E-C717-FDE636529E1C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5" creationId="{02E762C5-39FE-1D62-AA0F-00CD39334D32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6" creationId="{8DEC987F-E007-EC37-3AEA-59FB6E187E35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867" creationId="{4DAB646E-9EDC-95DB-18E2-7E85573A3E3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68" creationId="{78AB0D34-D7B4-001D-7582-34656852325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69" creationId="{9A72DE23-65A7-6E91-F827-44BD7A9AC7D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0" creationId="{875B496A-4264-937E-207C-F2A0FD4CEC2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1" creationId="{D71C4B73-B4DB-6593-0FC1-0C9CA165ECDA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72" creationId="{DCF7105B-C5DF-5976-6A32-6036992C2768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73" creationId="{7C0EB39E-A70F-2ABC-7BDB-A3ECEFC5FB5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4" creationId="{5AEE6F61-D428-8DD1-208A-9C94A56A9F3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5" creationId="{1BDCD682-4A6E-A042-BE4E-9EF734B5687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6" creationId="{7CC18659-0408-70B8-D86F-6707BA7BB37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7" creationId="{CD16E03B-7B24-15D1-D3FD-BCB2ADA96DD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8" creationId="{74E79786-732B-C27A-8ADA-796C8E3C5CA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79" creationId="{D92E3803-4D0A-EB45-421B-FD4FB1FDAEE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0" creationId="{1F3C1621-FD24-4697-8EC8-2BDF5A9B279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1" creationId="{6B95C46B-D519-887F-3763-EBFDF000782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2" creationId="{78965DFD-6615-B365-43DD-E326E0AA384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3" creationId="{0512F5B0-26C8-076A-A5FB-0F44FBC81EF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4" creationId="{66BD69CF-9A27-8A40-301C-76C7FD92470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5" creationId="{3DE24233-1078-6EB6-0DDF-58AA479F90D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6" creationId="{B2246B25-D410-970E-B3F8-037119387501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87" creationId="{EAB254D6-4DEE-40BD-A24E-24F259B4427D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888" creationId="{D0CFA2CD-9AEA-BAE7-28E6-E5B409523E9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89" creationId="{5800A129-7A0A-F52C-2933-69A8E379BBD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0" creationId="{37570A22-5E2F-2FBC-13D9-BCBA7041F80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1" creationId="{993C2A07-5733-9B4E-AA43-01A5FE57BA1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2" creationId="{BB3DA931-7815-670C-F806-F9B2A4AF7F6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3" creationId="{984772D3-7AB8-136A-D457-4EA67231CCC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4" creationId="{17AF45B7-AE9F-FFA7-5CEA-8BC60B0FEAD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5" creationId="{22E8FE57-0CD2-ED4D-7028-FF874F33C90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6" creationId="{0866AC7B-A032-2F56-34A9-95176B5E505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7" creationId="{8D5AAB17-67D1-65C9-7E91-DA5FE9AAB5E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8" creationId="{00EF4D56-84F1-B5CE-AF1A-35C6610FDE6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899" creationId="{D2F9A6D1-6E86-D3CD-1AD2-C4DE1FC430E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0" creationId="{4E32597B-5CA9-9AD1-F61C-38A1C10EB62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1" creationId="{84437268-E662-0DF1-F6FD-D6B7385441B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2" creationId="{334CFDEA-5CDC-5B62-9FE9-82F4EE33393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3" creationId="{FC87B725-5317-F41F-49F2-12BD9563E38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4" creationId="{C85A2197-845F-178D-78C1-AA02B771670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5" creationId="{42C788A9-A55C-9E16-D7AF-519916E1CA8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6" creationId="{1367F670-69C6-D9B7-F4AD-C54F402ED577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7" creationId="{EECC14DD-BFA6-AD2C-20C4-2D76B370654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8" creationId="{F14410A3-CEA0-88D8-1520-4A8783C12AD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09" creationId="{AA921A98-BE98-FDED-CDAC-C4412F28382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10" creationId="{52D80370-CF9A-F954-0A02-CBFD13E4583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11" creationId="{220DDFA0-8175-CDE2-7690-B6EE05C7CFBA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12" creationId="{A2288CB6-49AB-1B77-07E1-F900AB2CBD1B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13" creationId="{BE4879B7-535F-0CE9-4084-EA907BFA553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4" creationId="{37BFE511-3426-132D-3647-304C07378FF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5" creationId="{181D1719-F66E-9880-AB49-56CC1BCDF3E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6" creationId="{0E89EFDD-DD52-160D-6538-0055C0B7405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7" creationId="{4AC3F920-C449-2AC9-4DD1-7FFC8D1C7E5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8" creationId="{13C97C8F-FD1F-E79A-EB47-262CE343DE2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19" creationId="{4ED3062D-416F-3EAE-EB4F-DFF16F185EB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0" creationId="{8BA2F9F9-9D0B-61B6-C3D1-65198AFB195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1" creationId="{3D74C9C4-5D60-930E-3046-6975D708925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2" creationId="{B83DE59E-4CCE-E31B-955B-4EE9036B5BF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3" creationId="{E593BCB8-1978-AAFC-582E-F717D6BC2FD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4" creationId="{672170CA-C0F7-C3C6-1F80-6878497F905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5" creationId="{47096D71-0013-8F84-F4CB-3C99FE48E59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6" creationId="{EF1EA8F9-2143-F4F0-E4FB-9B32A3DE5D6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7" creationId="{3211D17C-0B4E-1B99-4FE2-85A4B8EA5AE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8" creationId="{6344A974-64AE-3706-79F5-D3865A2BE37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29" creationId="{7C9ED318-BD0F-9D6A-D4FC-A13BE4C5BFF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0" creationId="{74A75D16-DCB8-EC7A-2F4F-943C5057D47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1" creationId="{86A3C8E1-AFF4-3B14-0447-A58B19D5F88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2" creationId="{087669E3-32A2-5EC6-014C-EC71ED070C1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3" creationId="{EA799ADE-633F-3CC7-87F8-ED249D95AFC8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34" creationId="{F39A589A-5967-BB85-9ABA-05D8A73002C0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35" creationId="{1B688C44-021C-6DA0-674B-0744CA2D9DD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6" creationId="{F6BCFA3A-EEC4-BA74-6730-6EDD4F02F955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37" creationId="{34C459C2-BE1E-49D1-0E32-738259F17DF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38" creationId="{C80C216D-A3BA-62B3-BEBF-B59530107FD7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39" creationId="{F93AAF74-D07D-33F5-81AC-9707254C43DA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40" creationId="{5C0009B4-33B4-A0B9-E713-16294F6A2BCE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41" creationId="{19C15E4F-6E3E-383E-FF70-CE6CF9370BBE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42" creationId="{3710F3BE-54AB-7780-5787-175A5E49AC2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43" creationId="{D82EA672-EE99-D016-6E64-D50E636DCDCA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44" creationId="{62288CB1-3237-A877-452A-8CF06DE660E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45" creationId="{8EC3B5FA-DC4D-FB53-F4B3-B6D30DB0434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46" creationId="{0FF9C98F-0CD7-F07B-C889-63B9BE05DE89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47" creationId="{3E483253-0354-14C2-0A48-A29681AA6A6F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48" creationId="{B4D978C0-E678-73BE-F4B1-343095DCB642}"/>
          </ac:picMkLst>
        </pc:picChg>
        <pc:picChg chg="del">
          <ac:chgData name="Cimer Ádám" userId="8a923def-9a81-4ceb-8db9-424f2c16c007" providerId="ADAL" clId="{EBAB697D-D0C1-4C12-BAC8-A0BA9B60B910}" dt="2023-03-07T21:24:32.709" v="272" actId="478"/>
          <ac:picMkLst>
            <pc:docMk/>
            <pc:sldMk cId="419211473" sldId="260"/>
            <ac:picMk id="949" creationId="{11A5D456-F075-70FB-1F67-BBCD2A883D5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50" creationId="{36ABF981-426F-79CF-839C-A349D12B482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51" creationId="{E66A64E9-993F-FD29-E954-BAE160DE683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52" creationId="{C563F79E-6251-15BC-66F9-30095305759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53" creationId="{F5B91F64-0249-2042-F6A9-3B709764706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54" creationId="{FC93BFEC-6216-5F91-B359-543A5562455F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55" creationId="{4BB8543B-EE72-C11E-E91C-54F11E9FA39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56" creationId="{75820075-B24D-9524-BBA9-EE0DE5304574}"/>
          </ac:picMkLst>
        </pc:picChg>
        <pc:picChg chg="del">
          <ac:chgData name="Cimer Ádám" userId="8a923def-9a81-4ceb-8db9-424f2c16c007" providerId="ADAL" clId="{EBAB697D-D0C1-4C12-BAC8-A0BA9B60B910}" dt="2023-03-07T21:24:14.722" v="268" actId="478"/>
          <ac:picMkLst>
            <pc:docMk/>
            <pc:sldMk cId="419211473" sldId="260"/>
            <ac:picMk id="957" creationId="{544D9A97-8C4A-25B0-E566-8B6773B7136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58" creationId="{6B753C40-9AB5-0430-FEF1-F961888C98F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59" creationId="{3DFB50D5-9F35-D35D-700E-2FA05C9E4AC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0" creationId="{291C5976-3AFD-5C04-D3AA-A3BC2A4B997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1" creationId="{80ADFB22-E9A1-7803-9BD3-4E63C537A11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2" creationId="{1C9DEB14-D0A4-7476-5F8E-3DB74D91CF2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3" creationId="{1C74B11C-09DB-16B1-D907-B6921578F5F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4" creationId="{BD21D81D-54C6-CC8F-9758-1666359C948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5" creationId="{0276AF98-D091-1871-4D07-3000B86C8BF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6" creationId="{C4F35B0B-5A8D-5952-5666-2A7E0A65CC4E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7" creationId="{EAA0C292-9510-234D-6480-F99A1B8BFAD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8" creationId="{087B59B9-6246-F73A-AEC8-CD993A20710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69" creationId="{4959CFC8-19C5-B577-380A-B80303A83D40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70" creationId="{158211B1-DF95-1F20-E428-4B25EDF0A23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1" creationId="{3900B713-CE77-2134-A2FA-6BCFE238539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2" creationId="{74F40A3B-147E-7465-5A2E-C5636032040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3" creationId="{E0E7FF42-BE56-1560-D2E3-624DE0DD070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4" creationId="{7F6E6D6B-3002-6ED1-2BE8-47B816B473E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5" creationId="{A7989E69-43AD-70DC-1C54-F0A3F5A316F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76" creationId="{13F2DB89-B944-41AB-B3E6-58A713EABAC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77" creationId="{A1465EB0-0A12-CB48-F5E0-99C72591D8D8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78" creationId="{01CC20ED-75B3-61F6-F8EF-74E903802FCE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79" creationId="{56143AE4-6411-71CC-C003-B6215FE9F4BF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980" creationId="{987E5B06-5254-64FC-7464-5787E1035B0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1" creationId="{E89CFBB1-3C08-2A3F-1850-FDD051270AD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2" creationId="{959D9F4C-A87D-3DA4-9703-570D29E5550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3" creationId="{49681A11-C2C5-7AAB-4A95-6C27405AC52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4" creationId="{BD11B98A-2A10-0E6C-C437-3C483BFA1749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5" creationId="{D27D7704-C6CB-95B4-EFDA-37D859A6EDA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6" creationId="{A349FA13-6F04-7E8B-4F4A-DDB18DF67F5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7" creationId="{37C6A5ED-0D7B-2EA0-EDF6-5CDB009E166B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8" creationId="{E9D4C78F-2314-0096-353B-C8E5D3D67FD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89" creationId="{C5B5B86F-08BB-10E8-B6C6-BF201217C726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0" creationId="{22DFE965-26D0-F641-AD82-5F4476A1BBFD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1" creationId="{AB6DC4D3-4217-2BF0-DE5B-400491511B87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2" creationId="{ED9A1D14-AF88-5C97-7A68-30C1787D4664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3" creationId="{9CEB09C7-33C8-90E6-4D38-CD095E40B000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4" creationId="{8E63C21F-EA9D-7FEF-FF19-A318E6A0C791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5" creationId="{E38102AF-2250-39A9-EB32-5272B1857FA3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6" creationId="{C44A82EC-3BC6-0AF6-B7AE-E4D25FD501AC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7" creationId="{3BECF743-DC5A-E7EA-28B8-981F48196BEF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8" creationId="{DB00DC7D-DA40-E9C6-0730-E0F54FC273BA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999" creationId="{08957F53-F230-F6F7-8AE0-08ACCC215C48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1000" creationId="{C3CAE1D4-4C12-45B1-CF5E-F55833F15232}"/>
          </ac:picMkLst>
        </pc:picChg>
        <pc:picChg chg="del">
          <ac:chgData name="Cimer Ádám" userId="8a923def-9a81-4ceb-8db9-424f2c16c007" providerId="ADAL" clId="{EBAB697D-D0C1-4C12-BAC8-A0BA9B60B910}" dt="2023-03-07T21:23:59.076" v="266" actId="478"/>
          <ac:picMkLst>
            <pc:docMk/>
            <pc:sldMk cId="419211473" sldId="260"/>
            <ac:picMk id="1001" creationId="{37BE0806-2618-D8F1-501F-8617D5987E1D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002" creationId="{47055059-7E17-2B00-B271-8B1450E707F7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3" creationId="{4557D24C-8FC2-CF4F-043E-960F1FA923D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4" creationId="{BD223A30-0C71-6E90-7E6E-3A739839092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5" creationId="{9E083D61-14E4-1340-8311-F8B5F1C9088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6" creationId="{05B8F3AA-AD33-1C85-55B6-E6E0EAFCDEC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7" creationId="{9EB99B05-932A-24CC-ED57-AF47384586E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8" creationId="{0831F5E0-D4D5-7E6E-71D3-56BCDD7EF63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09" creationId="{FEF61B29-1D5B-3DA5-FCCE-2EB655C3CCC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0" creationId="{D28DC818-2044-004D-EA9D-C29EA38B67B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1" creationId="{B0BE2CD3-78F3-4C79-4BBD-32D73D93D7DA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2" creationId="{49F6B708-1EC4-E804-938D-EFF6D44FA8A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3" creationId="{ADC65289-590C-660B-9F8E-BC41906FCF5D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4" creationId="{DA5C8630-4069-9169-C320-8C3892DA93C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5" creationId="{93A12613-3D9C-70C2-F11F-1524E16EC1A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6" creationId="{55397384-22F6-C63C-E620-97E63011536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7" creationId="{1A1C7A96-C599-78D2-99A4-BB2D118FB68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8" creationId="{630A00BF-E1C1-EADC-9C77-E928DD94A8A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19" creationId="{7E5D288E-FCE0-353B-2957-C5F957A1207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0" creationId="{5F0F32E1-28BD-8DAC-1CA9-D282C762FD8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1" creationId="{AB8297B4-CDBA-C4E4-F976-ED829ECF4AA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2" creationId="{CD088BF7-2FE2-E6F9-0534-6CEBA862B9F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3" creationId="{68CCF8EC-5B59-93F4-B393-547B033D32B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4" creationId="{0EBEE948-15DA-4A99-8338-0A9EF58EFDF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5" creationId="{41D87428-7383-9F52-AA3E-82ABE48A6CC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6" creationId="{E7511EE7-C95C-8E20-0A87-6A5956F39AC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7" creationId="{5701B588-3524-9BE8-139D-07BB8D8FD5F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8" creationId="{D0061E45-0312-6471-1A22-B6DAC2A2377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29" creationId="{886A5891-3259-C00B-E23B-7FE5CA8DD9D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0" creationId="{2FD82608-BB8B-7644-69FB-79FAB656E30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1" creationId="{3239CE68-0397-A364-7895-707951F7F0C8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2" creationId="{B8AEE086-5125-E388-7FEC-DD2347E63FEB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3" creationId="{E6E2A099-EA6D-2B27-7F78-480ADFF036B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4" creationId="{8A4F10AB-EF3C-76F4-B426-3A5576D74DA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5" creationId="{FA11F155-B8E2-2B85-0D95-8B0F7D8D22E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6" creationId="{1B5FB9DF-6237-0372-A066-B245FFDB8E0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7" creationId="{AEDE14A9-665C-7F25-9105-692F61F96F6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8" creationId="{299A640D-FDC8-CDA2-B54D-86E9840F99EA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39" creationId="{7C960B20-6B36-9831-F181-108E4E8E3D1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0" creationId="{66551596-3A40-A17D-DC01-E846B77DAEB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1" creationId="{796869A3-44A1-055D-1E92-D8181728EDB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2" creationId="{C9D5B02C-DB14-78EA-ACC0-942FBF82C97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3" creationId="{D9231F5E-7C9A-AEF6-C986-D4E2F10C4A0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4" creationId="{0DA2EF9D-01BD-25E6-78CD-2778652C960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5" creationId="{4C04F64B-A5EB-1E95-4BEC-B9A45C9B025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6" creationId="{211A02D9-C1FC-5078-98C7-55E254DA89D2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7" creationId="{FB063D4E-89A7-D2AB-E627-B0F9FC13E14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8" creationId="{A2FE7ED7-02EF-1AF0-B946-0B9C71778E7D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49" creationId="{7D857B22-6D22-02F4-773D-8EC57FB5CBB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0" creationId="{B057E5C6-0EDF-64A1-BEC7-6C3FB89B9E1D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1" creationId="{8F48A0D7-5699-0C40-7AE9-E27B8C195BB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2" creationId="{5A14D599-DCEF-9CA7-2DF0-2EB7E44E57D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3" creationId="{BB46AB9C-1DFA-2FF6-F846-05E9AE8F32E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4" creationId="{978CB898-A82A-2A34-9365-3B78F6957D32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5" creationId="{C0D3E1E5-25CC-B34A-5BDD-34D23A3C3BB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6" creationId="{E4515CFC-B213-CD3B-590E-5A98CE359A6A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7" creationId="{8FE75A61-305D-7D09-9A52-6BE18FED300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8" creationId="{31FB05F9-4CA2-5521-BD39-F0A8E625F4C2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59" creationId="{F614DE33-3806-343D-F994-7ABA32C719E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0" creationId="{8DBB4D90-96D9-4F34-D662-52820DDCA088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1" creationId="{464641C1-23F7-1B43-96E9-7A2FA625160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2" creationId="{F40C473A-CD25-D411-A254-59EB23B00FFB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3" creationId="{84DFEFF5-D705-CCFD-8A40-746585A44A5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4" creationId="{853D2038-BBC7-2A6F-01F9-3CDE1ACDE8F2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5" creationId="{5752632C-2B56-F471-96BB-7A0D2DD0E6F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6" creationId="{A23FCE2B-891B-8B04-65DA-6C832DDB48EF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7" creationId="{27F5D0B9-CFA1-2048-FA63-7893CBF9DB5B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8" creationId="{0253A8EE-72F7-BC2E-8E64-0EE2053F9ED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69" creationId="{2D4267D3-DD14-B5E5-BA5C-B465555BF6B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0" creationId="{EC3CA0CF-6EC2-2C69-5EBD-33EF769EABF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1" creationId="{058FBCE6-D028-C4D2-5413-2549340A98C1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2" creationId="{30592B1F-6011-BD16-5CA2-4940ADB7DD7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3" creationId="{5453934B-8B0C-AA32-EAB3-D382350EF119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4" creationId="{093DF576-574A-25A6-E2FA-1A3127DCDF8B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5" creationId="{2D4FE8E1-40F6-419B-A4B6-97D5B42F613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6" creationId="{A4483CF2-03DB-7798-CC0C-2772A6CFB20D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7" creationId="{7596631A-63C6-30CC-EF26-F73D8EE1C00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8" creationId="{2AE3062A-B667-99DA-D190-717B9E307E0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79" creationId="{D0300280-A8E3-8F27-D494-9136D389F788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0" creationId="{DF37F86F-A583-D405-E482-AF9B0526E6D2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1" creationId="{7149BFB0-43FE-4D21-7103-517E44C8F827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2" creationId="{A9D6776E-E405-C513-4EA5-FB364A7A4EFA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3" creationId="{49E7F68E-E351-80AA-E88A-7A9B18A102E4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4" creationId="{D11BFF4E-006C-A373-D423-290166CEC2C6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5" creationId="{D0C6FBEE-BF76-3874-252E-F63792D78D75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6" creationId="{78BA76A6-FC46-5532-C401-1DEF08C8A0FE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7" creationId="{B4FE6D7F-510C-E3ED-5E85-1622CCE8174C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8" creationId="{01D15D5C-5F9F-1C82-7B02-26843301B2A1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89" creationId="{BA1EABB8-FA49-BD7F-DB55-DE79DAA8F81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90" creationId="{F65B5202-CE07-6F92-3C6D-BB2726EBBDF0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91" creationId="{57ACA87F-0798-4791-40FE-1B177420BEE3}"/>
          </ac:picMkLst>
        </pc:picChg>
        <pc:picChg chg="del">
          <ac:chgData name="Cimer Ádám" userId="8a923def-9a81-4ceb-8db9-424f2c16c007" providerId="ADAL" clId="{EBAB697D-D0C1-4C12-BAC8-A0BA9B60B910}" dt="2023-03-07T21:25:02.749" v="275" actId="478"/>
          <ac:picMkLst>
            <pc:docMk/>
            <pc:sldMk cId="419211473" sldId="260"/>
            <ac:picMk id="1092" creationId="{8C702A44-7E5B-1015-165B-54C6A14A3A2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3" creationId="{0AF633B2-4CDE-FB53-EAAD-323442A3816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4" creationId="{51C8CA58-F35F-3BBB-354C-87BC7BF553F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5" creationId="{D66BEFB3-78B8-3475-543B-E2FA4DDB0AC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6" creationId="{AFB577D6-6C82-8997-CD04-B5474B449414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097" creationId="{40682196-8A28-0830-6592-BBF5A6A8B75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8" creationId="{F4487336-F2C4-D365-8005-272FD59D53D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099" creationId="{71B75EEF-F699-4D48-C9EE-80CC0D6397E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0" creationId="{6BF8787F-5D64-BB84-3198-3D08DCBB7CA1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1" creationId="{3EABA5EC-D319-A5F4-D49A-8130E14C7AE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2" creationId="{8B04B8ED-D63A-B12C-B2D2-F0A216765D3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3" creationId="{DC7A3C08-C130-AB87-6A5B-B14B293109F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4" creationId="{22E0A02F-46DA-21F8-4524-5208548667F7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5" creationId="{AD412201-14EF-AC71-0C64-B4EF82EC02A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6" creationId="{C7030255-D68C-2049-E195-ABD269DA760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07" creationId="{C115B6A3-9F74-4586-BB05-FB9B69166898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108" creationId="{875B4270-3D1E-A1C8-A681-895E3E94166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09" creationId="{137AB147-D6DA-8D41-F972-CE1914B2551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10" creationId="{DFF153A5-DF4C-3DCC-C485-0CD016E4E4D9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111" creationId="{0E5AA3F3-C3E6-3268-865C-42A116EE93B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12" creationId="{6FEDBD17-D262-CA45-D406-75D40C46CE1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3" creationId="{2781FC55-9748-E19B-A379-B980992BFB2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4" creationId="{EDCB5CCB-EC7E-D524-D2EC-0A67F6B8C0E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5" creationId="{F3A4CBCB-5793-FD8E-1D5B-3842008CC1FE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6" creationId="{A1A65E12-5E8D-BB6D-0040-172B394609D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7" creationId="{77347055-110D-EAA8-B36C-00590573155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8" creationId="{4F60EE12-00E9-EEAC-4D26-2B40139A558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19" creationId="{6A8CE3A3-0251-A7F0-88A1-6B6FB58C426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0" creationId="{D03E4FBA-5726-FC2D-ED6F-8378FF7833A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1" creationId="{2E80FACD-019C-79A5-A303-B74BE8A073DF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2" creationId="{FCDCE87F-2E2B-018B-971B-729C7420949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3" creationId="{B6CC1D00-417C-2DA7-D881-4AAE097955FC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4" creationId="{EB513F0E-CE3A-8D30-FB64-252C8CB841E4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5" creationId="{475E16F1-64E2-AA49-F602-93E7B7E77A30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6" creationId="{435877BA-B94F-C28E-A795-83241065D1F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7" creationId="{3CA20786-D061-1C77-AEFD-98A5B238411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8" creationId="{A4426051-A313-BF98-4B69-8BFF718042E7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29" creationId="{BF0783B6-66B1-13BE-2CF2-87CA7651C4E4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0" creationId="{9956A45F-6B8C-6353-69A7-781DE402B52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1" creationId="{BF55835D-BC93-889A-E3EE-148AD445799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2" creationId="{A48A63AD-8732-8328-14FE-AFA34F8A357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3" creationId="{E1C46459-D8BE-6066-57B7-362DCA0B77D6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4" creationId="{EC5526DD-5BE5-AE2C-E3F1-65872667A614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5" creationId="{C1A07F3E-5297-CD82-7446-BE45340D8F9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6" creationId="{8D2C9E1D-144E-DC9A-95F8-5AA9534017D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7" creationId="{8F05CF0E-3AB6-96A7-3F2F-770AB7B24D7F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8" creationId="{91E8062D-8C36-105A-C8B4-AE7E3BF2FFC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39" creationId="{2C31FB0C-38B1-D2E7-4953-C9A8175DEA4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0" creationId="{FF7B5F22-1AF5-12AC-A65C-517031A8151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1" creationId="{9B23F780-DC52-1F17-298D-B8EA01CCD5B3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2" creationId="{46E6874F-BE51-189A-DF65-D5792DECE2B1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3" creationId="{F2EF56F1-6E0C-D762-ECE0-F675145564F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4" creationId="{D42E1D18-8E75-85C1-EFB7-43D3CEF65C6A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5" creationId="{71B371D2-7163-AB49-57CB-F6F199FA1CD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6" creationId="{1CBE682F-6123-7CE5-24E6-43F47CB78BC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7" creationId="{E7757CEF-B55D-722A-C31C-091D6EEFDDD1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8" creationId="{9B99A09C-313E-FD93-67C5-E117D11F2CD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49" creationId="{6809620A-72CB-6756-421A-355964343E9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0" creationId="{DB8C646D-C83B-522F-E229-9E871AA716B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1" creationId="{EB26B024-6148-0EC0-0EF5-1FEC13290E2F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2" creationId="{799918BE-A5F3-343D-5DF1-976FCA561ECF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53" creationId="{52700B00-E2A8-04D3-1DEE-54164C7387CC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54" creationId="{1BDAE06D-96A5-3B8D-5BF3-562B871FA66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5" creationId="{299AC764-92EF-CD45-639B-7AB9A0C6D8B1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156" creationId="{EF61EED6-4D3E-850D-7528-881111D89829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7" creationId="{7AF2C336-96E8-EE23-FCEE-A4519BFBA13E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8" creationId="{CEC25788-C7EB-E28A-AE97-DC3457DC72FD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59" creationId="{BE52B748-A6E2-3896-73B2-EE5176D9AB15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60" creationId="{98EF1A89-D42E-E2E1-94D3-D0F14B6C6238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61" creationId="{B17AB518-2CE3-3DA0-C61C-3893973E1E81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2" creationId="{096F0875-6C6C-2917-227B-BD1279D9B205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3" creationId="{CDB7C1C4-0FD3-653C-FD03-48FA5890CD0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4" creationId="{24EC0F95-8F55-092B-5BA2-4670A363CB2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5" creationId="{3B54F774-0BA6-04AB-0827-26D43B74A56B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6" creationId="{1A8A48B0-785C-BEAD-DC8D-F71F1C894696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7" creationId="{A97427CD-3191-6F52-A695-F8736362912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8" creationId="{73E1795E-1BFC-09EC-8E19-7245194569B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69" creationId="{FA0F0FF0-571D-8B8B-EF62-89EC02EE48A2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70" creationId="{4FE5540F-630B-2992-8837-1A2FAB16BC48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71" creationId="{6250F8A9-142D-8C67-E2CA-76F0ED3166C0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172" creationId="{70E1EAE7-8956-4423-4D11-45120F3466D2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73" creationId="{ADE3613C-1F83-B389-199F-8272CE67C889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74" creationId="{01200075-7A53-86D4-3AD9-43823E1C9C32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75" creationId="{B7018170-40A0-99D4-6108-4885D2E05835}"/>
          </ac:picMkLst>
        </pc:picChg>
        <pc:picChg chg="del">
          <ac:chgData name="Cimer Ádám" userId="8a923def-9a81-4ceb-8db9-424f2c16c007" providerId="ADAL" clId="{EBAB697D-D0C1-4C12-BAC8-A0BA9B60B910}" dt="2023-03-07T21:24:25.391" v="270" actId="478"/>
          <ac:picMkLst>
            <pc:docMk/>
            <pc:sldMk cId="419211473" sldId="260"/>
            <ac:picMk id="1176" creationId="{E9985EF2-0563-FF76-D258-95005BA7BE43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77" creationId="{5B3E8C80-2B04-899F-CB0C-69C04F849CEC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78" creationId="{1B5BEDE0-330A-7ADF-C3A3-A9E21A29901B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79" creationId="{34148AA5-74FE-746A-FC88-A683A1E86A6E}"/>
          </ac:picMkLst>
        </pc:picChg>
        <pc:picChg chg="del">
          <ac:chgData name="Cimer Ádám" userId="8a923def-9a81-4ceb-8db9-424f2c16c007" providerId="ADAL" clId="{EBAB697D-D0C1-4C12-BAC8-A0BA9B60B910}" dt="2023-03-07T21:24:29.002" v="271" actId="478"/>
          <ac:picMkLst>
            <pc:docMk/>
            <pc:sldMk cId="419211473" sldId="260"/>
            <ac:picMk id="1180" creationId="{C5538B2E-C168-8273-EFB1-8F40F3363494}"/>
          </ac:picMkLst>
        </pc:picChg>
        <pc:picChg chg="del mod">
          <ac:chgData name="Cimer Ádám" userId="8a923def-9a81-4ceb-8db9-424f2c16c007" providerId="ADAL" clId="{EBAB697D-D0C1-4C12-BAC8-A0BA9B60B910}" dt="2023-03-07T21:30:10.808" v="295" actId="21"/>
          <ac:picMkLst>
            <pc:docMk/>
            <pc:sldMk cId="419211473" sldId="260"/>
            <ac:picMk id="1181" creationId="{843DD925-BAE7-7BD5-1897-6326DECAAA32}"/>
          </ac:picMkLst>
        </pc:picChg>
        <pc:picChg chg="del">
          <ac:chgData name="Cimer Ádám" userId="8a923def-9a81-4ceb-8db9-424f2c16c007" providerId="ADAL" clId="{EBAB697D-D0C1-4C12-BAC8-A0BA9B60B910}" dt="2023-03-07T21:24:11.130" v="267" actId="478"/>
          <ac:picMkLst>
            <pc:docMk/>
            <pc:sldMk cId="419211473" sldId="260"/>
            <ac:picMk id="1182" creationId="{E7CA0E46-C536-A124-7C2D-134DC94BFD6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3" creationId="{3FED0703-4D05-E085-4FD6-4E2CAC7947B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4" creationId="{4596F638-53F5-4654-8358-2BDFC11B667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5" creationId="{CB9926FB-A0F5-6A42-CFE1-34F47B24C33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6" creationId="{CCDFA17E-E848-D397-37AE-45677DE764A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7" creationId="{3009C4E1-F514-20B2-4EE5-37F24825710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8" creationId="{682857B3-A209-E37A-DED1-39F6D2BCE48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89" creationId="{BB4E641F-DBDB-FA4A-243B-4F015F7C8A5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0" creationId="{B85FFBF0-6DFA-C5FD-8DF0-F324BF0E2C4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1" creationId="{9952588F-8CDC-7F5C-A821-9CC96872B78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2" creationId="{A7D6C2E9-FB00-4315-A33C-EFA3BB51A99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3" creationId="{1615F585-F8DB-4F3F-C52A-D6D8DACD4E9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4" creationId="{D5C52050-56AC-73C5-C2A3-16FF79D6B35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5" creationId="{BAD93909-0035-C3B8-48E4-57F79BA68C4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6" creationId="{372E5F0C-4D46-2E75-3503-7A506379E3A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7" creationId="{9AFF65D9-EA6F-E3D9-23FC-601D64EEF14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8" creationId="{312ED928-4C45-E76F-3BA7-59FA0B47AA4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199" creationId="{017EB90E-8A5C-5EE9-2681-73224489345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0" creationId="{B37A7C03-5ED6-D418-D198-9893C6F614E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1" creationId="{8E8F6BA6-B341-33D3-0B3E-94E8069B187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2" creationId="{F7F9F944-4B54-E8EB-019C-40D25E61749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3" creationId="{9A7DB346-E229-C050-CD0B-73EFDC684F8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4" creationId="{DF39BC2C-01F5-6546-A849-823A9E756C0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5" creationId="{94C21DF3-6F29-BE2E-D9CB-7F4E204D248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6" creationId="{E5AE3982-26E8-4077-5163-36DE38152D0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7" creationId="{EB2667BC-D15B-FC59-8D53-6573F392919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8" creationId="{6810D19F-4CD5-B86C-6181-2BF41851240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09" creationId="{51A9C937-9BF5-C465-B80F-6D7A1DBF4BF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0" creationId="{23B5A98C-FD3E-A4DA-68A1-55788F0C3A6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1" creationId="{CFB46834-21B0-DAC3-B4A9-9A180A45EFE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2" creationId="{3CFFA2D8-CFD5-BA92-A06E-A813D12E8EB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3" creationId="{B1EFE531-5362-99D8-83B4-7371DA1F024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4" creationId="{D10BF3E4-BCC1-DA76-F9F2-D5DB67C6539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5" creationId="{2C790857-382B-188A-282A-9600952C9FB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6" creationId="{319C6320-2CD8-61E5-AFCF-1B636E5A8D5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7" creationId="{47E87853-CB4B-EA6B-EB69-7184F115ECC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8" creationId="{2561DA8A-6268-8E1A-E31F-EC0A9430D81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19" creationId="{329FDE2A-DD5E-89D9-C395-303727CE5E6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0" creationId="{617C8EDA-5B7E-45B6-FDAA-2528480A06B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1" creationId="{B39AC651-1EFF-0807-7C92-6B8F4C0A55A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2" creationId="{4E5F4B54-E7F0-ABDA-16F1-F80D0F0AFFC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3" creationId="{FC1F8C32-442C-5794-05E3-0DB810866CE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4" creationId="{A01BAE4E-AF37-F8A3-2DB1-78F6099BD7A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5" creationId="{85536704-1EB2-2CDE-1240-5BD66251F59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6" creationId="{F4736F12-ED48-59DD-E7E8-1DBD3070D20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7" creationId="{292BDBFA-6D0F-F8B9-AA4A-1CFB8603ABE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8" creationId="{F27A3EC7-2DDB-E53E-3A8C-EBCA7162AC9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29" creationId="{98F479C8-32F2-628E-3F95-855A3C4AB0F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0" creationId="{B4A5998D-EF23-2DA0-5079-CC22AAFECE6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1" creationId="{E0573B97-E136-9252-9FF8-A82E85610D0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2" creationId="{3DD2301C-A964-B1A0-B9A3-1D267191D9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3" creationId="{422B4352-AB1E-ECB8-0EC4-751CF84F5C6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4" creationId="{236C10AA-C2F4-87B8-741B-A12B2614984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5" creationId="{D6D16D5D-9351-FC7B-F659-7D982D23671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6" creationId="{A7DB9ABF-F5C7-C8FC-8284-99638FEE505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7" creationId="{D5D4E88A-1C94-BC8D-1196-98C6CEC1674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8" creationId="{85FB7263-7DDB-EDBF-BB7E-76E4DC80B32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39" creationId="{2A3EB84E-DD2A-EED8-09C5-DA5BF971D56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0" creationId="{D2DCB777-6432-180C-891C-B57931C0798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1" creationId="{3105B0F5-ED1A-CED0-004C-CB3AA34F34B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2" creationId="{614E8814-1751-3F28-5C24-DC0ED8D3F70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3" creationId="{1B9F0DC7-8277-EB88-9EB2-DD3267BA979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4" creationId="{66E482AD-F21C-0CBF-CB88-AA594582387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5" creationId="{AD69172A-29B5-87E7-2CD1-F4BED393343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6" creationId="{A3CEBD1C-1D95-8ED6-B5B2-968F6B3237C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7" creationId="{B22CDB4E-5D82-BBA8-3496-0C7759298CE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8" creationId="{F10CBB95-1987-727D-D07E-28E5D025AB0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49" creationId="{20A52BFD-C55A-1BF4-6A98-AD0BCA04548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0" creationId="{505016E6-0944-BD6E-98F1-01CC182FEAE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1" creationId="{803F41B7-4819-1EA8-AD79-DFA9DA026A1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2" creationId="{9A16BDD1-56BB-8A20-3B88-EE999B4BF2F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3" creationId="{946C208E-4B58-D484-A121-1522648DCC3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4" creationId="{717426FC-69C2-1CBB-1871-D8F38C87F57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5" creationId="{8B80637C-5367-F4BB-779D-5C60A4774E5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6" creationId="{08251746-F822-9ABC-D62F-D26CE4D44DB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7" creationId="{DF6A388D-B89F-8790-0202-AE4869E5166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8" creationId="{394EF4AE-8D79-6E80-334F-497A4699782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59" creationId="{736DFE6A-FADC-143E-C1E9-A4F70687859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0" creationId="{1B4692A8-219C-986A-7179-C1629027A42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1" creationId="{8AADFDF7-0D9D-CBB8-26C7-939D08AB496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2" creationId="{A5A91FC3-0783-6616-B8AA-219918EAA3B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3" creationId="{FC0820DE-8701-613A-D274-F2547FF05D8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4" creationId="{DA92575C-9B7A-ADA1-9D53-3596466AA4F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5" creationId="{AD999FCB-C917-3DCE-DC9D-6EADD001763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6" creationId="{DF1D5223-F498-8CD3-C6B2-C976E9AE9EF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7" creationId="{2DF0223D-A840-6236-6232-6DBDB16CC5D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8" creationId="{A565D630-F628-8E9C-434F-15748D07595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69" creationId="{4DD05323-E614-782B-66A0-806FBEA55B8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0" creationId="{E9DD3483-0E95-B265-8930-3C9FEABBD3D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1" creationId="{A8A54951-83D1-851A-6989-FF691EB319D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2" creationId="{0A6EFEFA-5CF4-DAF3-7FCC-B14DBE6AA2D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3" creationId="{D879534B-5EF6-2D78-A46D-823DDB1AF94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4" creationId="{739F23D5-59AE-541B-9423-2A524FAE66B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5" creationId="{18B51595-F4C3-0FA8-CF34-3F77F12B53D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6" creationId="{4EEFD9FE-5760-9F19-19BC-45CAE244968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7" creationId="{E32526D8-C711-9BFB-216A-70BBA796439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8" creationId="{C8044935-BA44-7009-69AF-DDA6631FD0E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79" creationId="{79D80469-E725-B50C-00F7-D2C43FA78F5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0" creationId="{43C38A3F-438B-A2BC-DDAC-5F9D0ADEC48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1" creationId="{7CFB4904-87D8-717F-9659-D9488424A5B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2" creationId="{D5A2CCC3-6D97-C13D-E833-1D5E7EB0BB0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3" creationId="{4E770A18-A37E-C531-9584-F034DC5665C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4" creationId="{72171E17-3FCD-5908-3FB9-794D27FF2EA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5" creationId="{8D6DD933-8378-75DE-9304-7C404BFC67D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6" creationId="{F6921907-C384-9979-AB0F-FEA6786E764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7" creationId="{D1CDD37C-3576-72BF-29D1-16CF7BA87D3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8" creationId="{43DDC395-6CDE-8D6F-71BE-55FD80E9A23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89" creationId="{C591F821-11CF-E618-360C-59A528D5C3D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0" creationId="{C30D5F8E-48E4-9AAF-B068-CC9C5597D26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1" creationId="{6EF1756C-90F7-4164-0C95-63D0F1C49DC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2" creationId="{D3807848-6142-AA5A-B24D-D6D9CA06C00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3" creationId="{184A4570-CF6F-EF6B-B847-001F1DE8C13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4" creationId="{E026CBCE-87FE-D65B-C2A6-398CDB3CBD4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5" creationId="{E9A92FE3-7293-7BB3-59F6-141E409B205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6" creationId="{43E58D93-8B76-8AAB-D8F6-A4D40A86D53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7" creationId="{AB139C4B-661B-6361-1EBE-63DD1D6DF44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8" creationId="{8138A95A-13B0-4A9E-3509-97D85474D77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299" creationId="{0796BD89-E1D4-A480-726A-FEE46817F7C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0" creationId="{EACF7F83-1F97-81B2-3794-167C28ED6F2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1" creationId="{63653829-3E41-7C0B-9A88-B3DD9724284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2" creationId="{36CF5D91-66DF-8FE6-BFE6-2D47EB663E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3" creationId="{C07D4E2E-3950-2B50-98C7-82476C08E72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4" creationId="{116DEBF2-262C-92A8-505F-D8154662FAC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5" creationId="{E7627935-B53D-CF9D-DDA5-DBE19233CD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6" creationId="{A389B25E-7D48-3DDE-8F10-F035764FCC4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7" creationId="{BD08DE22-B4D9-F1DF-81C7-009F5FEB202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8" creationId="{52F1F16B-5304-676A-A62B-A54170FA89E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09" creationId="{E8872F35-9798-7E5F-754F-63BE4FED867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0" creationId="{1581EE6C-0902-0BD1-968D-C5A61F43788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1" creationId="{DF75418D-ABA4-7438-9168-17F7D2A0C2D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2" creationId="{91E77720-F784-3E74-08AE-5C61715DD2C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3" creationId="{C275E509-7425-7B3D-9B9D-B2B577B0BDF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4" creationId="{6801BF8C-AFAA-105A-D938-97F49739DCD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5" creationId="{9140356E-38DB-4094-0522-446EB26E1B9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6" creationId="{1CFF7232-B708-E1B9-0927-FAF4911286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7" creationId="{8F52E3F3-710E-6115-D0B9-FE4AE8C3361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8" creationId="{865094CE-FAB1-4DCA-C73D-2C6B5A4CA0E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19" creationId="{ED32F87D-110B-877E-A262-FA631B277F5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0" creationId="{AD7E4DA2-97F9-73B3-A419-DB26C5D7B6B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1" creationId="{6665F46E-1120-A526-AA12-CA1A60C68A4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2" creationId="{271DE839-D156-0549-9921-928C75A9C35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3" creationId="{217D26E6-DCF8-4653-37A8-05744E36778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4" creationId="{70E212BE-FA15-CC93-FB9C-8ABAABBF555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5" creationId="{F1C00BD2-B551-E252-BF6E-DAD1A8A8198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6" creationId="{80CB635F-BDC2-D472-87E1-AA5DC8DF8A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7" creationId="{A36660D2-9F62-590F-FE97-1CC4C52A098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8" creationId="{C8BDF861-0C13-1FD4-4AB4-2B337F7A021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29" creationId="{257EADE1-427F-C92D-A3FF-10284FDE388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0" creationId="{31D9A14D-94AE-2686-5FF3-9E2AC7B9797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1" creationId="{EDB6CD5C-386C-0C3D-B971-4C98B4253D4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2" creationId="{3BEA69CD-E04D-35FA-8978-A78295CDC38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3" creationId="{E16D7B55-11A0-1DD6-A9A7-B1351C66E39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4" creationId="{CDB9B992-9413-CB27-4FCE-5092569CB49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5" creationId="{E91F0154-6F79-FC43-1158-11F6FA89466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6" creationId="{A8F63844-56BD-45CC-3F19-F1855F896D8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7" creationId="{9F0B167D-2013-E5CE-3CC6-91847DAFD70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8" creationId="{D5498605-0962-701D-CAED-034CD934459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39" creationId="{4F2118EA-1942-F753-0722-5AA6B3E5B6F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0" creationId="{9D031E88-A127-4CA8-DA90-E39FFE30627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1" creationId="{A5EDA9B8-5B42-51C8-4700-C4148A13561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2" creationId="{290196B6-BBD7-531D-B6F7-AD11F37A06F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3" creationId="{6B915FA6-54AA-446B-A1A4-1518959FAEE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4" creationId="{110FFDC4-D72A-EDEB-ABA1-286010C503B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5" creationId="{7451E337-606D-00B7-497E-5AB891A25F8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6" creationId="{887134FA-BF79-0EE2-A177-E55740B8368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7" creationId="{67FA8757-4269-2569-B091-BE848036C86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8" creationId="{D1F7555B-452E-F884-6EE3-7709B411EEB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49" creationId="{081BD494-7A03-1F26-B67B-CD5605DE997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0" creationId="{A0365E99-EFE5-2F4E-1E6F-CF8345E258F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1" creationId="{C55E07E1-E3C5-129E-C277-9C5CDA904E5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2" creationId="{56FD7AF3-7241-47AC-BDA0-DEF1B4241A9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3" creationId="{0FF86C3A-CADC-4881-B1A6-4B6BBE4E303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4" creationId="{F8DEAED8-0DE0-3044-81A7-C50A8578452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5" creationId="{05A263AA-4560-84A6-8DCC-07EFC93C9E1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6" creationId="{D65EEACC-D9BD-16A2-0647-8E11ED6908D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7" creationId="{5C15BEF2-07E3-9A52-89F6-17F5EBEDC16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8" creationId="{0349A3F0-C70C-BF9A-87E5-7EBAA19CF38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59" creationId="{2294DE22-084A-E172-D4A0-9A46D9D0924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0" creationId="{5CB4FFE0-87B2-D440-B4FD-E976481258A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1" creationId="{ECB5B637-AC69-09D4-D987-1BB9CEFE618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2" creationId="{961D90A9-5BCD-3CAB-3EBB-05A11021132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3" creationId="{94126ABC-0E45-C2B2-5C71-3218E0363FE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4" creationId="{FB523F39-FC56-C2FC-937A-628D4A6A783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5" creationId="{3B1A2611-4514-BC83-0CA2-86B63369E2E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6" creationId="{6F8E325D-5059-425C-B5F8-6BB39C121D6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7" creationId="{84F8BA0A-BA87-830D-20F3-EC77DC4F66F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8" creationId="{4861F93C-B74D-4A26-D4A1-11797DF2489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69" creationId="{0AE1C06A-720C-AC06-2E8F-A2CBE28812C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0" creationId="{4CA0BFE4-4E74-5BC5-44AA-32128100B29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1" creationId="{9682A322-E900-9CF2-0C2A-64B64852DC6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2" creationId="{ACA29157-E192-8774-8EE7-1E3ADB54AF6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3" creationId="{F11CD714-D562-9F6F-75F9-9442E3DDF58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4" creationId="{689B7CCC-02E2-8F68-565D-60A1D8D6C66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5" creationId="{4FD6A3DC-E222-1900-14E6-DDBB4DA01AD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6" creationId="{CC686E17-CB93-CB2B-25ED-B71868FAF62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7" creationId="{44077534-A951-148C-70D6-B49905EEC18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8" creationId="{FC59EDE1-E047-4C91-20C4-4B683A97BC8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79" creationId="{6524EACB-0EE4-EA00-2295-C72D88433E4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0" creationId="{B3FC9321-2484-41D2-31A8-378152B0774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1" creationId="{DBD8A35B-A8E9-8866-F936-90E562E04E4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2" creationId="{4D127AB8-3FFE-27B9-5F2F-E910A29ACD0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3" creationId="{A886A53D-2E9B-A296-6D50-009C283D4A7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4" creationId="{1FD77151-B660-7384-6846-F08D2A983BD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5" creationId="{EC31A4AC-9204-E902-B9E1-B0CE100A8C2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6" creationId="{59855851-5E51-4FD2-5127-AE3D3A0F01C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7" creationId="{BB73862F-C779-4E6C-870D-8B8B376964D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8" creationId="{CE65E2B6-FE20-B969-4B90-2DAFEB7CA24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89" creationId="{B5F2EF79-8606-72AF-723B-2B52B2EAC7B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0" creationId="{F55BE1EC-53B1-FAAE-C20D-5987C5E3E98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1" creationId="{68D2FA65-D07A-310A-C60A-3E68B04F68A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2" creationId="{0DBCDBDA-9418-D6DB-973C-A633FEC66FD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3" creationId="{A9AC86FA-8B89-3757-45E9-4B04046E740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4" creationId="{27E62FC6-57C3-EC88-BFC8-59E53A541F0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5" creationId="{797F8B6C-6336-10BF-DA5D-27F66BF0030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6" creationId="{A3D66F9B-B62E-1DF8-ADA2-374CF798047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7" creationId="{19214DF0-B0B5-281A-1C65-3B24158D764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8" creationId="{1865B13B-5E1A-650F-A691-E413BD4A9F0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399" creationId="{2973F2D8-28EA-475E-8069-E8E80557682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0" creationId="{FB5ABCE2-3A5B-01CC-4745-C18DEBE088F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1" creationId="{DB97BE1F-D6D1-87A2-8837-018A226200A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2" creationId="{AD9CA502-65CC-7B84-A8B5-594F76E765C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3" creationId="{2D425D49-92AB-D8FA-02D8-AB8DE508D79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4" creationId="{C1F0D0E0-C61F-2432-76A1-CE5CC8DC324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5" creationId="{E77BB187-1D91-3E5C-F4F4-CF620FBC2CA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6" creationId="{C614A106-95E7-B78D-9DBE-50FBF8AF1F1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7" creationId="{2D6F25E3-D27E-FD27-1BB8-FF7500D6945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8" creationId="{444EDAED-8CAF-3AA2-7C9F-50D7287583B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09" creationId="{D815D2A6-E9EC-6854-5AA2-325C83DE173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0" creationId="{F9DB281B-0BE4-7C45-F40A-F02D613DD5D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1" creationId="{0061DC96-FF28-B258-B362-D8E536F933C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2" creationId="{6E393D06-6CC5-B429-6B20-17BC63CB960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3" creationId="{9A7683B6-A50E-522B-A329-453136B3BA1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4" creationId="{46E66B53-1BFE-C472-C3E6-F637F486021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5" creationId="{6AA405DF-1FCD-BB28-EAED-837F026CF05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6" creationId="{A4FD2943-9FC3-DF6B-893F-9B3037F6E3A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7" creationId="{79F6BB21-951E-3DB7-18F1-46955BB05CF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8" creationId="{8E88C200-E988-5463-5717-552FB2480A5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19" creationId="{17E0F172-953E-72AB-6C73-7DA952AE6C7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0" creationId="{B94C1393-07C7-91DE-D3AE-91699067304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1" creationId="{2099AB63-1924-4988-A97B-537E7355204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2" creationId="{325A3E9A-E639-46DC-0293-E4D007530CB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3" creationId="{988F6F9B-815D-FB47-BE73-98AE1C22D89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4" creationId="{2A4464B2-505A-A2C1-FB21-AE5EFA9A60E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5" creationId="{4026EC4E-F2D8-9C9A-2D17-D2A39A73913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6" creationId="{3FD2CF4A-7A48-10BC-D3FD-AF67C07D008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7" creationId="{178DC7B3-5E20-7906-D220-BF22CE80AD6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8" creationId="{4EEA3D14-D059-D3A5-AA53-5D900311449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29" creationId="{94C1E099-98D2-A32E-4C2A-D118839DC5B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0" creationId="{72071322-4FE1-B318-8DBD-EE5C61E303C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1" creationId="{468D9A4C-74D4-58F3-9EB9-354590E260A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2" creationId="{62B2E652-A988-423F-F42E-8E160878BFF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3" creationId="{0F85CFB4-71CA-E950-2E15-5373A28CB3E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4" creationId="{8B5F4E43-6A27-29CA-03D4-5F4A86B6BCC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5" creationId="{F944CBAA-0F15-060B-8CF5-D0B65EDE0D7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6" creationId="{BD28FC77-F2EF-F805-EBB8-8B79FBF9F4D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7" creationId="{A54AA79B-8551-03A4-4B6C-56226412BCC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8" creationId="{79451CCE-1573-8523-3C3D-B55FAC88329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39" creationId="{4AAD8698-25C3-E063-AF32-4239248DFCE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0" creationId="{7C26949C-5D04-617A-6E85-7ACA73EB738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1" creationId="{5167FB49-04AC-BA09-6D82-0ED55475170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2" creationId="{68447248-2BF2-4DF6-BF33-120D5E2C685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3" creationId="{F3B133FE-9758-5948-574A-660DFF3D9F9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4" creationId="{5F124D3A-3B06-CB52-E72D-4FB3B8EE19B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5" creationId="{02B5D549-92CE-AA4B-12BB-8CB27AC965F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6" creationId="{96344588-5544-6819-A14D-6CC7BC1273C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7" creationId="{A16DB76C-35AE-0427-D342-91D7A35E852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8" creationId="{5AE1C14A-131D-CC3D-6BFA-CDF8CA87ACF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49" creationId="{CEC65BF3-4A77-EC0D-0506-C81F69D8E4E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0" creationId="{05A9357B-D09A-941F-2DFC-CF90C5A5831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1" creationId="{C45FC66E-6732-9BFA-2D62-7FD239277A0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2" creationId="{BE2B8ECD-5D3E-CA38-1F92-FEFBFF49F2B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3" creationId="{2914C5A5-CCC7-6962-74B4-20B057626D0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4" creationId="{77A995F4-35FC-9FB2-6C57-FA95AADDE2D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5" creationId="{1F512727-C7EB-2DE9-FA00-5A19B436A32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6" creationId="{6B70FC3D-12D4-EDF8-DD1D-A5B14B7632F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7" creationId="{CAE48230-72CE-9CE5-A5B6-AEB873EC235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8" creationId="{C7A2680A-347D-3CB5-55C8-46D78B6504A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59" creationId="{32A983EE-9E33-2645-84C9-642E8D24BAC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0" creationId="{AFEBC7D3-1126-C2D4-7273-36656C92AAE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1" creationId="{FECF43ED-14CB-C297-118E-80D8503C4C6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2" creationId="{FE5E58BD-D5C8-5206-DEB8-22E1952C8BC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3" creationId="{D6396FC5-A44E-6F3C-5AA1-B721F167C8D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4" creationId="{387DAF5C-93C5-CAF0-5D13-7AAC893BDCA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5" creationId="{7E403216-FAC2-D337-82EE-18AD16A7502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6" creationId="{4F1ED568-0261-E26C-9F43-933A83A97C4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7" creationId="{34DA1328-7F79-8261-7F02-AF22D70FDE9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8" creationId="{83A34592-543F-C787-3203-5D383804501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69" creationId="{123C8CB0-3980-CAF9-AF8D-F961230810F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0" creationId="{310ACD98-80FF-A841-E83C-3AD24A3FC2E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1" creationId="{5A91C5E5-C302-5ED1-6E90-FBF11B66321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2" creationId="{7194C5F3-5191-C5DC-EE66-F16BABDC225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3" creationId="{067A161E-87DD-560C-0D79-CEA1A63E605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4" creationId="{12823286-6ACE-2316-3A03-16BA8016FFA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5" creationId="{88E5E1FB-B8F4-9164-4DC8-2D572F67B63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6" creationId="{3A2156F8-3A1B-BE44-12D6-1EFCF1F8CBA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7" creationId="{539E9F3F-B083-A19F-2256-E6C9AE3A071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8" creationId="{28F5CCC0-919F-8B82-D253-9BF4FF86B56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79" creationId="{EAD3D95E-046D-0385-4877-D82E96CA8EF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0" creationId="{C9489031-430F-12A6-C537-0EDBFEEB4E4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1" creationId="{275ACEF5-05C2-2806-C4DB-6131AED12B2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2" creationId="{1C30D0D5-912D-33CE-9950-048E9BBB9C9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3" creationId="{FFDBF89D-F45B-6345-45D1-AAF68DD7201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4" creationId="{E9C7B321-38ED-739A-F388-C75EABE0F8A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5" creationId="{7596575A-F9FD-56E8-A86F-1E36B8F5A5E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6" creationId="{3CA04F56-75AB-0AB6-67BE-EF49B45ABE7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7" creationId="{C63039B0-2AE6-87A5-6CF8-5351D61785D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8" creationId="{F3260FD0-8002-9186-F47B-B7AFB01CBA8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89" creationId="{76DB1405-862C-4DCD-DFD3-A1E6E8CCF9B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0" creationId="{3A32B098-4DE2-86A5-2417-EFEBBCCA181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1" creationId="{9AD1AFE2-6BB7-2B94-DAF5-E1ABF52F985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2" creationId="{0014B771-8DBB-DBFA-48CF-E9393B91B26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3" creationId="{D25C280E-05E2-7ED6-BB49-1BBE2336048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4" creationId="{32C43A2C-1F5A-0E8E-1FD0-5F1A804C84C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5" creationId="{4212C50F-28EB-1AAB-7EC3-0DD3DE3574D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6" creationId="{FBF71BA6-1C12-1FDB-80BB-039A445068D6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7" creationId="{91119BBE-8B60-0C4F-61FA-1AB13CD3C95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8" creationId="{1AD26948-4821-1FD1-AED2-1C7CF3299E1B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499" creationId="{C4AA4CAD-65D2-E7B8-4383-82FA7D4AE19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0" creationId="{90CB5B01-4B5C-4360-EDD4-3B40EAB9FDD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1" creationId="{C3E99AC0-7165-57F2-603D-496A213FD3CE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2" creationId="{85F3A7A0-BE92-878A-4BC4-F78B38170E7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3" creationId="{2C72C8D8-6E4A-6684-6980-5512C7EA12F9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4" creationId="{FB58F8A9-52DC-1CFC-854F-DF4AFF217C9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5" creationId="{77323CAD-3ADE-8EFA-A974-61C59D83ABA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6" creationId="{8CA8C06B-A643-2245-5C70-20CD36452EE1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7" creationId="{9014892D-A0D2-961B-72CF-CFD60DAA1A6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8" creationId="{D49312AE-3DED-9358-E78C-2FFC849B791C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09" creationId="{3B17DCAD-0940-9AC7-6E38-6CAA2BDDD89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0" creationId="{0843BCA7-2D47-57AA-2E57-A1D34C8CDB43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1" creationId="{A7444EE7-EF5E-E735-11A4-C0BBB5B1A975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2" creationId="{D12E1313-0815-D12E-286C-B644250EF754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3" creationId="{7BAC29A4-E995-C4C2-1F40-26DAF336457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4" creationId="{246576D5-B54C-404D-CC92-14B5D864453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5" creationId="{8AD99100-D6BF-5687-5BF3-970121EFAF4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6" creationId="{C9ACE99B-BFC5-30F6-015A-10F8FFC4D882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7" creationId="{539EA5ED-92A6-3EBC-3424-6BA2DB97DBDF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8" creationId="{82A50FA3-C2D9-1F78-436E-16520EE44208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19" creationId="{8D29670F-2313-7091-2334-E67B2F45DE37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20" creationId="{A17ABFFA-9945-CE31-8B8D-5D2AE81CBF8A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21" creationId="{878B757E-9F86-116F-2E52-78C14CD2DE1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22" creationId="{5884051D-EB6A-601F-357F-0AE938969510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23" creationId="{5627647F-1393-11F4-D595-8422DB9B762D}"/>
          </ac:picMkLst>
        </pc:picChg>
        <pc:picChg chg="add del mod">
          <ac:chgData name="Cimer Ádám" userId="8a923def-9a81-4ceb-8db9-424f2c16c007" providerId="ADAL" clId="{EBAB697D-D0C1-4C12-BAC8-A0BA9B60B910}" dt="2023-03-07T21:30:48.131" v="303" actId="21"/>
          <ac:picMkLst>
            <pc:docMk/>
            <pc:sldMk cId="419211473" sldId="260"/>
            <ac:picMk id="1524" creationId="{E38D7FDB-BC8B-1F64-239A-A170B3343F9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26" creationId="{FF9F1A40-AA76-3CEB-12D5-DF563FF9E75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27" creationId="{771E4364-3DD3-640E-812D-E897BF52EA4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28" creationId="{EC41C582-A41F-67AD-56A0-3011A8A818F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29" creationId="{094F8D97-0D99-4D92-05CA-6EFB9AB0E59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0" creationId="{ABB9013F-717E-2596-253D-396597E896E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1" creationId="{0DFEF9F2-0C89-3802-D2B0-01BE569F921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2" creationId="{C4021A63-2B11-87A5-35F5-EBAA2801CAC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3" creationId="{234A1C0F-4CCF-7103-7143-25BF09FA8B1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4" creationId="{A4803706-A770-51AB-E5A5-DB8F3569937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5" creationId="{D8ACA88A-AB13-B3B1-E4D0-5B9CD33379D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6" creationId="{7C4F4C1A-3C9B-342A-A84D-4CB803EA359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7" creationId="{6DE44342-DFA7-7256-29E2-D6D25D0C3B9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8" creationId="{BB63385D-C5A9-9524-9F42-55552FD1A17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39" creationId="{70E227D9-4578-B1C8-D60D-C5141DB07D8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0" creationId="{5531872B-195A-15E5-2043-CFDFD78D97C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1" creationId="{8D3DDF9C-9E83-6BB9-229B-262FF30AA9C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2" creationId="{A63DC22A-5576-21C4-903C-D2D39946B0D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3" creationId="{ED99FD75-1484-4F2D-A14C-FBAA0FE0D6B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4" creationId="{B3DD6F70-1207-E6AE-28B0-59986BACB38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5" creationId="{517F0B44-2642-1C03-50AF-9BA3FC68D67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6" creationId="{13D5DD72-7C1E-7B11-8130-E5BC38381D6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7" creationId="{039DA262-6901-8A5F-4BA0-AB7DB47A5AF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8" creationId="{1E576028-C2CE-D7A5-138F-82CF5B486D3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49" creationId="{68C5AD78-81F8-D431-9E0E-5D74523E622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0" creationId="{7B517AF7-E309-DAD1-C7B1-7F86190BDDF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1" creationId="{1A820D8C-BB28-DC70-9F6E-7AF1F12B116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2" creationId="{C07C5754-AD80-26DD-684B-9621E27F729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3" creationId="{973D6D26-823D-99C1-E4E4-133FD4AAD5D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4" creationId="{872B0B32-12F3-FD97-32B6-509E3D72196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5" creationId="{C8E65B54-3F03-B538-CC83-03DCC8A01F8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6" creationId="{B1F6CF01-FBEB-E3B1-DFF7-ECDCA8384BD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7" creationId="{72486002-C433-D0F5-413D-A2DEFC50AD9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8" creationId="{9999EA4C-3407-C2DF-A8D9-4F02FBB2F9C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59" creationId="{1CD59BBC-197B-95D4-4CAB-A34E8DDCE78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0" creationId="{97FC0632-8E99-52F0-13BA-315B3DC0F08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1" creationId="{0FEFA2EC-0961-4D1E-CB36-E8C81DB37C8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2" creationId="{11CB7A1F-C391-C52C-B457-900F670E727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3" creationId="{79359C7E-F520-8ACC-BE59-0D8CE874BA1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4" creationId="{5969AECC-6D74-F8E1-84B5-D048F5963F6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5" creationId="{5E861DCE-1E27-2E70-9BB8-EE01CF57A73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6" creationId="{8976DCF9-1708-B253-9524-F483C45001E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7" creationId="{288665B2-8CB1-9CBA-8790-DF5278B0E32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8" creationId="{39A55A05-B5C1-59A3-D251-B1A7EE31924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69" creationId="{67FA85C7-3567-C57E-7CAE-DD98FA73F7D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0" creationId="{FCCAB833-CF71-BDD0-D3C2-88B3B9065C5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1" creationId="{D74E5502-48D6-94C7-AFFB-020DBDDE690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2" creationId="{EC80A13B-2D00-DD64-5403-3870BBAC2E3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3" creationId="{F1AA595F-98D5-1FF6-F516-DA70421ACAE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4" creationId="{4485BF43-B6A0-C9D1-7C3C-3C2BE13822B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5" creationId="{8373417D-ECD9-9DE9-CEF6-C63FE59C119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6" creationId="{66DFEDE2-FB12-8545-EAB3-87D19B203EF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7" creationId="{821A614E-4E88-9C9C-8CB2-BA91C659365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8" creationId="{B8AA7D25-7308-B4BD-FC1C-E423CA20BAD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79" creationId="{0CFBA4B4-F2D4-8F7F-6417-A0595D66489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0" creationId="{CD8F5E8F-7305-17E4-5623-6660386A204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1" creationId="{1400C181-5936-1AD8-4EAA-6421500B0DA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2" creationId="{4FE7D0D5-6AE6-F637-E68C-E5D3F73BC51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3" creationId="{94E6C218-8A9B-5882-13BB-C04884405A0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4" creationId="{BAA3F66C-CE6D-1152-6F67-40EE9ACFE26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5" creationId="{6FB0F994-2B88-881C-2CF8-F77D7E3630F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6" creationId="{042EAE5B-CDE5-1B61-DFEF-AEC70D2732A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7" creationId="{32BE0131-200D-EA52-9581-B7F6662D375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8" creationId="{BF477B6B-6204-7803-5694-3E951658975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89" creationId="{406EE8B5-285F-1C3A-0AB0-807FCD9AFB4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0" creationId="{A3E6CF04-9FB0-98CE-8DBE-266B789EB71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1" creationId="{90A9B7A8-8731-44C8-2D56-B82A37DDE22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2" creationId="{2D0AB548-E8B6-EE9A-6E8F-0B7E9CCEFEF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3" creationId="{656FCA17-3BAA-1569-EFB1-26BA307E0EA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4" creationId="{0AEB1A3A-B167-91B7-C06B-00A0AFF3BEF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5" creationId="{2E07A3A3-66D4-30B2-10B9-C1C0BC45691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6" creationId="{0D25A80F-5F8E-8A7B-77BC-5F8183322DA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7" creationId="{19DDE4CC-F245-1F1F-08CB-84A48660275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8" creationId="{B6EE8498-673E-967A-29FC-CA88EF94A3C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599" creationId="{BA9A6647-64E7-A011-6D14-BC48111A2F9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0" creationId="{FA3DD629-586C-B4BF-2718-86122B82452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1" creationId="{FA1B35C1-8D78-532F-812A-6A1B8109CA6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2" creationId="{04BE0491-5B03-234F-8680-ADA5A9A20F3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3" creationId="{C422050B-2D3E-5665-2B93-4B268A37EC5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4" creationId="{F5B39F71-97D7-3DB2-CDAF-7FBF2B6DC38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5" creationId="{116F413C-D5FA-BC98-0681-B122315B896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6" creationId="{3EF7CA53-382C-E6C5-02F0-F2291099B6D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7" creationId="{1810E1F4-F33A-FBF1-524B-9EF341B3950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8" creationId="{2D4E689C-9523-242F-FB35-A096A9493F5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09" creationId="{95AAD86E-7568-7B31-C6AF-2C47B981F9D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0" creationId="{52ECC98D-75C4-83C2-147C-0E4FB5E37F1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1" creationId="{5750E3F4-2CBD-0327-7452-95B5E006363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2" creationId="{B9EE9A9B-5B58-5E2C-73DA-414609267A6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3" creationId="{78D750B0-8A73-8612-B59B-C8EDF9F9076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4" creationId="{482F00A6-E4E1-8789-A307-86DE7DBF7A7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5" creationId="{E7CE3B1D-C190-C57E-61C6-44D301E5736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6" creationId="{9658122B-947A-7529-6AC6-1BABEA7EF36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7" creationId="{02B79317-9231-0F18-F642-FA1B30411C4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8" creationId="{828BDABB-3FD8-7E1C-30EE-3CC4DD3BFF9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19" creationId="{A38A4B57-DB7D-5FD8-6F84-C2B90018DE2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0" creationId="{2489D0CB-E191-BDC6-DAB2-ADA3001FA5F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1" creationId="{5191385C-6679-20BD-073F-F959D17493C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2" creationId="{AAA6D6E5-44AD-CF98-B4C7-450EB3C4481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3" creationId="{46FBBDA8-EEDA-7BB7-2CD5-E38CB0F2089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4" creationId="{F1CAA545-561D-FEDE-9343-4561A32F442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5" creationId="{8FF94AA4-4C4B-0636-993B-2C9B483BFA0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6" creationId="{3EBF7E0E-3D93-C5D5-A9AE-676FF25C660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7" creationId="{DDE726C1-F8A0-EBA4-8BD8-6321536A845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8" creationId="{D3AD49D1-0BE4-E220-D16D-321FAC63296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29" creationId="{370A3409-287B-AFA6-2BB1-CE9FE2F98AF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0" creationId="{8AAD98CA-C83A-7F52-5DB1-5F20F1C5CF1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1" creationId="{3043B3AA-C08A-8814-C471-C4A974777C5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2" creationId="{EC3ABB9A-3414-62DD-BEDE-698C3456D6B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3" creationId="{D9975A91-2EC3-46D2-BA69-54ED4E0CBFB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4" creationId="{B48EE502-4630-D911-8A1C-9C565AB9ED4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5" creationId="{46255D00-D19C-8741-D9A9-412C42DA72C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6" creationId="{603E0E2F-68A4-4F2E-B31D-998CBBF4BB7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7" creationId="{1672F85B-2D60-1087-3789-B8553DA1285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8" creationId="{C6F4DFE1-16CD-8E6D-13A7-F86D271955F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39" creationId="{A61DDF9E-9182-78A9-2666-A3C9623621F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0" creationId="{5C2951E1-0D6F-99FF-BDED-65F0F753BB9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1" creationId="{9DB6C2D7-EB03-6130-5F05-E4A018BA1E2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2" creationId="{4AEB8138-EB9A-C173-0D3B-188FBC6736E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3" creationId="{F0369A5C-5F15-41D1-55A3-28D30BD5BF3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4" creationId="{501E1D48-9B10-3E08-F967-69E0864899A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5" creationId="{496C0C3C-4DAC-6888-5374-02C1AAD512D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6" creationId="{9653A347-60BB-F8D2-981A-0D5F93DAF52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7" creationId="{B2802238-4112-8F0B-C7B5-94F7070C87A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8" creationId="{49B611EF-D46C-AE6E-8E36-D7A5904022D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49" creationId="{13B39A59-778E-9AA9-1E91-424E5970D7F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0" creationId="{60F11F29-1EC8-5A44-1222-DABC96B98BB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1" creationId="{88B3BEEC-C0B6-0084-3835-968F8D44F7E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2" creationId="{20A57CDE-448E-07E3-7381-EC4D7F0607C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3" creationId="{0D66D287-B4B7-5740-1444-C54298D37D4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4" creationId="{A4F1A456-5AB3-8D70-346C-7146DF4B8C0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5" creationId="{2168A946-C8C1-E8BD-42CB-3E23851B569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6" creationId="{F80E48F3-FB9D-F289-9043-D3A4A862230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7" creationId="{5F5B5646-E2B2-9DD7-0187-B8C18F18511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8" creationId="{B5BF4F65-E1CA-863A-97DC-61D8FA81097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59" creationId="{F0D27C6E-3D64-A726-5F6A-692FF93A0C8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0" creationId="{ABD21005-4B53-DDE8-8F74-C6D7EE8866F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1" creationId="{18BB7BA4-699D-A9CD-E9AB-84B1AD4F818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2" creationId="{164A296D-9D3D-0C5A-E8AF-D6B43A240FE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3" creationId="{426A3769-CD4F-ADA2-F63E-6AB4D108743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4" creationId="{3D6A4BD7-CAD1-EA9A-8930-F469CB78647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5" creationId="{4346DAAB-5839-8EDD-AF7B-82B83484CAB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6" creationId="{11CEE6AF-99FC-5290-EA33-7ABB032149F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7" creationId="{06F80642-3D26-ACFC-2C6E-C0280AD7713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8" creationId="{9F877E51-4DD9-585D-0B30-5EE4712C660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69" creationId="{8962E55E-39B8-DB5E-1802-7659E3ACCFF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0" creationId="{691900A9-D33E-FC15-5F96-A89AFC36690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1" creationId="{60512225-DEC9-BFF0-D398-7BF71F90624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2" creationId="{2433F64E-40F7-A310-0E96-02CBF23BBF7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3" creationId="{BE6BECCF-8C72-D771-4AAD-32723CFF0DB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4" creationId="{4EB9E25E-5795-3D5D-8607-64167506AF1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5" creationId="{208538A9-4C22-9A15-DF78-679C9DE16A1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6" creationId="{B9396A3E-ADA0-99EA-A770-0B4AA0B3231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7" creationId="{1BCB459D-9531-3AFA-D77D-E810EBFDAD9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8" creationId="{7E2D18EB-A931-B637-4677-F62984048CD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79" creationId="{6D111300-3C2E-71E2-4077-0106D5D487C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0" creationId="{C058BB83-C073-B6C0-6CB4-7DD6EF072A0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1" creationId="{B3D6DFBF-6253-9F67-D791-B19EE0B06A8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2" creationId="{42DA05C3-1F25-7021-F836-56786539F90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3" creationId="{49A5F5CE-F039-63F0-F503-0042EEE29E9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4" creationId="{95A2D5D3-CC4C-3DB1-E46E-F03F892C8C9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5" creationId="{29D5B0B9-4BE4-61E6-DDB1-E514EFF201D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6" creationId="{C6E41795-6DCC-C288-2F70-ED6D47B318B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7" creationId="{D0F36B39-ABF8-777F-073B-0EDAD0362ED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8" creationId="{18378FC2-F3C3-E804-552F-BB7C96574F3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89" creationId="{7D82D4A9-D32B-9C95-0684-59BA741DBC5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0" creationId="{02EC1B98-692D-9813-6850-3148B3583C1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1" creationId="{947F145D-663A-750E-69BC-F2506D7F255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2" creationId="{CA21C97E-D34B-647E-A87C-71D48FC2BEB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3" creationId="{59626B1B-DBC3-DBCD-8441-5AEE4CED65D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4" creationId="{5DADFFF5-C01C-08C8-902C-6E8ECD47D63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5" creationId="{6F49232D-FE5A-7CB2-F7A9-44DF888A5D7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6" creationId="{D376383C-9E52-9B9E-825D-6FC69514B5E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7" creationId="{9467472D-BBBA-B761-9011-CBE9F06679A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8" creationId="{FC22429D-7644-F0C7-2361-DE829DDA067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699" creationId="{EDCAF517-AFFF-AF9B-8FB9-8379A7DC49C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0" creationId="{0125397F-1703-AA38-8C35-CD109C1F174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1" creationId="{86C7A1B5-85A7-BE78-E7AA-7D208AB536D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2" creationId="{852ABE84-F97C-DA0E-D9AB-08B1345A80E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3" creationId="{118E95DA-B29F-5D9C-BB04-DBA204631A8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4" creationId="{A0F85BF8-FAF9-6950-51ED-EAB576B245B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5" creationId="{78521704-F89A-1D80-78E5-C1BA3694663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6" creationId="{E5A6AD86-458A-97C8-D7DC-FCB1C7AC1CD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7" creationId="{44DB0AA6-9876-AF33-4A30-077F8E5A811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8" creationId="{EDBC44DA-61B3-D278-3453-99E7D0F516A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09" creationId="{351AF59E-49EE-484E-7D8A-633F55EB92C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0" creationId="{4A658916-9B1A-FA69-CB33-D3AD562E30A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1" creationId="{6D99E628-A319-A79E-6F52-75A254446B3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2" creationId="{03CC3A35-418A-C0B6-98D5-C9BEED73431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3" creationId="{18088F36-7CEF-79AF-BF45-E206B460F98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4" creationId="{D6A8376D-26C3-7D57-C90C-F6EA1A4513D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5" creationId="{A459354A-D487-5EE2-2E4F-512CA69991F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6" creationId="{F565DF58-FDA1-EC75-B72E-E27EC4DE2E1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7" creationId="{7A7DA990-375A-4DF6-D44D-94A7A01CA8B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8" creationId="{F7237E50-4819-B45F-DEEE-3F0BD389AE6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19" creationId="{997E9D11-9D02-0336-3980-0C27A16133D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0" creationId="{1896AFF5-3793-7882-DC45-D7405065D5B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1" creationId="{85DE9DB2-3C70-1273-7177-B5C2846174B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2" creationId="{F118FFE6-AF8E-4479-1AC4-364167948FC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3" creationId="{FE4E9E9D-E032-9666-6395-A2DBB0771BC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4" creationId="{04EC2CA4-5515-4BE9-6938-6BA7944C365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5" creationId="{2EC37F6E-0792-0779-51B5-98647051764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6" creationId="{374F75D1-858F-3F33-8D15-06FF61D701C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7" creationId="{05BF841D-5E04-0CBD-93F6-43A30EC965F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8" creationId="{6450CB5D-4348-8DB6-6558-283F2837B93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29" creationId="{B20EC1B6-1533-BA41-95A5-3001BC24BDD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0" creationId="{E54A6E52-6EF7-1E9F-D4EE-8F331FF2535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1" creationId="{1D342450-EC6A-44D0-D24F-F547479BFDC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2" creationId="{B5130C8C-816C-5706-A35E-1D9432B34BE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3" creationId="{E06351EF-C556-9CCA-E26E-D5CA3DF8C15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4" creationId="{12D8E83D-4B30-BC5D-0D13-B4434E678D1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5" creationId="{79894955-BF60-018C-B56D-1D35199601A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6" creationId="{4423B618-A3CD-E1F7-DE61-DA7A87E301C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7" creationId="{E328AE67-A57D-4A58-02E6-D457A13D3F5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8" creationId="{3BA3B81D-1386-E44A-2F4F-F7A8D7361F5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39" creationId="{64F1A142-ADF8-8DDF-8202-78B23FB0FE0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0" creationId="{04B517A6-4FB2-C729-B39C-7CF701B3D5F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1" creationId="{FEA1CD2F-B4D6-76A4-6EE4-9C689599FE5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2" creationId="{D87DDE4A-7807-3770-9A03-2E3909869CB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3" creationId="{7126A0C5-1CBE-FC4A-F11F-3DE552AA6B4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4" creationId="{09CCC441-0E76-DD8B-4CBA-55E5E6FE0F9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5" creationId="{CE03CD28-E571-57E7-D1A7-ADA6131AC98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6" creationId="{02B995F3-547D-5C65-6DB6-D03F0450B17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7" creationId="{AAD8F0FB-161F-6AD6-6B66-A35D7B467DE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8" creationId="{E3204F16-6D81-D306-C558-F724A0442B8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49" creationId="{3884CD42-FA23-30B6-B497-EE2C204292F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0" creationId="{E1610DAF-B370-BD4A-4BD0-FF8C87ED84D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1" creationId="{50314883-304E-2F59-839C-5FC3DF7382D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2" creationId="{A960D1DF-D05D-348B-2CBD-A7B64EF23EF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3" creationId="{DE46FCBB-0863-875C-087F-54A53D4B97E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4" creationId="{8337B6E1-D467-2DB5-813E-4C925DABB27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5" creationId="{FE872C2B-F09C-6CC4-5E42-9454F6EB0F1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6" creationId="{827BE176-2B11-78DC-568F-BC4B6ED7DA7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7" creationId="{D1B222D8-589B-4957-781E-D17A73EA5CB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8" creationId="{942C2913-448F-8F95-C5F3-AA4F404AAB5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59" creationId="{A39B2579-C158-CC39-CDBE-00B2C6CF338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0" creationId="{5CD16761-F6AE-CEC9-7455-5A1000740EC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1" creationId="{3579F0ED-A652-EB38-A497-67B04CFD6BE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2" creationId="{5540D245-A581-5CD0-EFE9-7A92FE3BDB6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3" creationId="{2B7A4AD1-A296-66C3-4337-4FCB103D9EE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4" creationId="{C181CAA3-CF90-D0D1-894D-1F1D3051DBE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5" creationId="{B75F6DA1-47AA-4194-EFE9-94A06825CFE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6" creationId="{DC3BCFB1-4CE5-86D0-152D-26E676D1D20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7" creationId="{1CAB41DA-2B6B-8A9E-DD87-51BD2366880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8" creationId="{3B0EEFDD-69D4-9948-2FCA-D17D3942F85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69" creationId="{03AF882F-FE69-E65B-E745-36DB0D8B00B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0" creationId="{BC2840B0-EB7C-285A-9E0A-3E7BD8EF7FD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1" creationId="{7C162C22-770E-7752-5002-5B85435F465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2" creationId="{AD371BB5-432B-C055-7FF6-EB45EB223A0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3" creationId="{7D55F465-1958-14D9-DC12-A3EE4B555D2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4" creationId="{7BD215D0-27CF-A5AB-C1CD-5BAE27F2623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5" creationId="{9757D2FF-8492-0D59-0DF4-4FE24484207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6" creationId="{D91CB30D-48B1-39F8-2CFA-780EFB5869C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7" creationId="{5EB6E3D0-1018-5247-40C8-F6DE240887A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8" creationId="{9A0CCC5F-6DEC-4EAC-3F4F-EA3D4FDAC50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79" creationId="{BA505699-F56B-E3DE-6833-A6E749EC40F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0" creationId="{08BD4511-C707-206E-508D-C706F2984A3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1" creationId="{0E04B659-9F56-A4CA-AE81-076AD7228DA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2" creationId="{C92F7289-48A5-ED64-76DA-036667C9929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3" creationId="{0E995D7E-34B0-6F30-CE8C-908010CC9AF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4" creationId="{4F3722A1-61E0-9BF7-9630-825F1FFE157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5" creationId="{3B6D76F0-2886-D727-565B-4A26A2DEDDC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6" creationId="{16886E4E-4D1E-4A3B-FF9A-795A4CE9E38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7" creationId="{18A54744-6F24-2CC4-5FC4-908D5E16727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8" creationId="{85872720-37C0-76FC-5C6E-D8284CC8B60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89" creationId="{4D767105-3A2C-02EF-173F-835A600D9FA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0" creationId="{0AF6C91F-A965-8115-924B-A2C6FFBC214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1" creationId="{2622D1B3-7F64-4AEE-6814-E38E1975FED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2" creationId="{2A1F7373-4085-702D-0959-A510C4563EA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3" creationId="{DCC142D6-0C14-3B79-6456-61817E48C27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4" creationId="{5596741C-AE94-D81C-E600-28D8963FFE4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5" creationId="{4905AA3E-6C25-ACEE-9EA1-98F70270F62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6" creationId="{3688CAE9-7458-50AF-5AE3-CC6B9B8CE89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7" creationId="{34330DDD-05A8-A3F4-07E9-45A342CB314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8" creationId="{493330E2-B8D6-61C0-9C54-C8AD7380706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799" creationId="{521246F5-8A79-F3FF-0A8F-B7904222899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0" creationId="{DB6E31A0-D584-018B-4210-25DC20B60A6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1" creationId="{6E0DD57A-18DC-FA80-F1F5-22F08B31995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2" creationId="{9C1C50BD-82CA-A4AC-A641-FDD2DF7156A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3" creationId="{0114933E-4D56-3DBC-746E-FCC67825983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4" creationId="{B37ED4D9-BB58-AA6D-3008-B45FE2B4B29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5" creationId="{3E53444B-278F-11D2-BB4E-E9D03186C8D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6" creationId="{824CEB6B-E874-4A6D-8D5B-80EA40BCF1D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7" creationId="{D45DD281-C506-BF06-66DF-267795E1C8D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8" creationId="{65EC1A5D-0551-8EA7-2C22-4061CB201BC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09" creationId="{88898E1E-FBAA-9C75-D6A3-D985AB06D0B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0" creationId="{61BE49B8-8944-1748-A5BB-9370F2FD5E7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1" creationId="{FCC3AE7A-FBD5-C1E4-FFCF-1E152881345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2" creationId="{FF10DEC4-63F4-EE6B-A145-C6A2B606083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3" creationId="{50B4A8CC-CFD5-36B2-F664-A22D64BD356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4" creationId="{3A7CDBDE-FEC5-DAA5-B162-74A3635BF30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5" creationId="{C374A52F-EFC5-68FC-8678-80C670463CC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6" creationId="{FD52C916-D515-D6F4-8AB5-4824634408C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7" creationId="{D2EC41DB-093E-B0DB-4A20-F38038824D4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8" creationId="{74458E68-1937-5699-D56F-05330061193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19" creationId="{BBD2B161-C8B3-7B9E-D3CF-F54FB738521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0" creationId="{553F4007-108A-C683-94FC-57D75BD46A8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1" creationId="{6E9813BC-045B-88F4-8AB7-6FBFF9864F1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2" creationId="{8353D8CF-9406-67E5-9B62-DAD167E07A5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3" creationId="{4E9B9802-1464-2F3A-0F91-77950F37FA8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4" creationId="{8629DB15-CBE1-AF62-BA74-43B219C4E76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5" creationId="{1889456B-BB08-C539-7F00-B9A8ABFE007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6" creationId="{48F7002F-0DD8-B1AE-8FCF-EAE97D54B55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7" creationId="{0A551C0E-6609-9EB2-6E9B-B2FE450ECFD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8" creationId="{C45F18D6-3929-363A-E382-FF13324D1AF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29" creationId="{B3BA3BE5-FAA8-9897-DB63-1C736ADF3AE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0" creationId="{02318C7D-3A18-F5BF-7822-C179BE9EC82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1" creationId="{6E8A5F8D-0385-BE30-6A8E-314598D2C9A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2" creationId="{131CDF6C-8325-1FC7-3773-A6AC36A321F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3" creationId="{6AD68F7D-485A-0135-BF49-5DC4A12FA4F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4" creationId="{192F63DD-16E3-1C38-A682-362DCE4142F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5" creationId="{EFD47274-D7F6-5F32-C570-114530463A8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6" creationId="{B3B6EDF2-B13A-7778-BF15-E114D0260B0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7" creationId="{DE44AD49-124D-5245-990A-864E32983AB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8" creationId="{33078914-093D-00E9-A099-CDBF2AEEFA3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39" creationId="{AE149860-160E-B5F6-C62C-4DCCEB1AB12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0" creationId="{CF07093C-8C02-716C-CA52-7BDC20CD405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1" creationId="{A6ABF909-487A-32F6-AF1F-4E253EF4626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2" creationId="{F996A97A-0867-2DE7-9605-0897036BB4E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3" creationId="{A2807DAA-6887-B71F-D5F5-D915C1AB288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4" creationId="{DB783A88-8283-19BA-5990-4E951408565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5" creationId="{BDF06C75-0C4F-91E5-1EEC-E8F62B9EEEB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6" creationId="{C3C4657B-1EF5-2E7D-D866-2FA40FFCFCD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7" creationId="{981C8612-00AE-0889-561D-E526C21ED77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8" creationId="{E03B6EE2-21ED-5D9C-8FA4-19227C43716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49" creationId="{8CB0BA63-DAF5-D15E-AA7C-324E2074B9F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0" creationId="{97510DA8-4542-B487-AEAD-324F536DEA5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1" creationId="{B853CE66-11E4-2600-2C3E-D51E5FDFA66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2" creationId="{3D6797A5-984B-551A-F664-C42841551D5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3" creationId="{B65A0846-6B29-7569-1DF7-F5CA38403F3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4" creationId="{FE439C7D-E193-852D-C62B-6FC404AAF17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5" creationId="{3B81237B-47E6-6A64-690E-D988A8D29DA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6" creationId="{DEC95F45-0820-EF8C-3B42-88A3DE1C77F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7" creationId="{61D9CB6C-F231-85D0-7C07-4255A51E95D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8" creationId="{3BC6E56E-012D-24EE-2D45-1758B6C0302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59" creationId="{D7E58876-3A74-81F4-252B-E17CFE97CB7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0" creationId="{A9ED5B21-FA24-008A-2D2F-922CC95F93F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1" creationId="{0D38F9E0-A9D6-04D4-1005-A64969FC741B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2" creationId="{179354E2-6FFC-1095-A6D8-DCF3C50ADBF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3" creationId="{78302DF0-1214-1A32-F2C8-9B2491AF13F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4" creationId="{44D0C931-9A49-FD82-2926-7040AD208F1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5" creationId="{F5F76DC1-F04A-222E-00ED-2FEA3D749E9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6" creationId="{FB5A09CD-97AC-7927-FEC3-804F9C9A89B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7" creationId="{C1EAC158-B660-D99F-4291-A0650624BC6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8" creationId="{38559F43-AC80-D2DE-5DDD-2C7D9D23A96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69" creationId="{D77CBF64-0802-E453-118E-58D5B1795BB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0" creationId="{FA5B4B52-3CDA-6A29-522B-FB6EFE87CAA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1" creationId="{0D009D64-402F-E374-19CB-6BD3877EB23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2" creationId="{F0E97715-633F-3FFB-8096-CB6521B2F93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3" creationId="{BAB2A367-E13B-692A-8A9E-9FE99CCD3FA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4" creationId="{D2B1717E-2EB1-7191-BA93-E8CE2EA5CF70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5" creationId="{3A817940-F72F-EB85-5411-55B68FB0227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6" creationId="{FB2E6505-4557-7388-0B6B-446A0D03822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7" creationId="{E5DBFEEA-BD5F-0778-5325-83184958792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8" creationId="{A7C781B2-6D0A-B58F-DE73-07E0921596A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79" creationId="{63906DB5-C11E-8500-2E8B-C29EACF885F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0" creationId="{71DA007A-DE7F-2D99-11E7-0A37AFCC006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1" creationId="{A3B80EE3-E18E-A4F5-18AE-4750CC23DA5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2" creationId="{90D79D6C-A7BD-5D3A-CC5C-747514F2705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3" creationId="{B253E299-2CB9-EA05-B9DC-ECB10850907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4" creationId="{1082D513-8B59-DC37-98ED-7F53FBECF38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5" creationId="{7415BC95-27F5-5127-2201-13A8A3AD97A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6" creationId="{7B96C4C3-427E-1213-1B35-94B2A719B89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7" creationId="{D5EA758A-ED40-F1FF-86BE-7262ED5BC74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8" creationId="{EFDE0221-3FAA-48AA-E9AF-46733267EED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89" creationId="{728C0E40-0892-B3EB-A5AD-A9FCEF40FDF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0" creationId="{0111E652-9604-CBF7-DFFC-01F9B65F118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1" creationId="{D8ED5B2A-A463-9502-8409-6B01AE3685C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2" creationId="{AD64B2CF-756F-3E17-DB38-DD8B5C42F7D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3" creationId="{B333FE11-3923-01D4-1150-B74DAE6F284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4" creationId="{3927DB2B-87FB-867F-E4BF-D77C9089DE1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5" creationId="{50040155-8870-8C61-1558-278CEF82027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6" creationId="{45A86B0C-02B1-6F18-C22D-8B59C940A58D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7" creationId="{89F37035-B9A4-C27B-E434-5F4A0CE030C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8" creationId="{8D8376DB-A003-506F-4D70-002CB8BBA4B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899" creationId="{8911CE99-5CEA-2EA9-EDD8-655A0ABCA87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0" creationId="{8FE3A6C3-CC71-FBE7-8F24-B1BFB01E34B2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1" creationId="{DE0D1D9E-4998-50E5-EFC7-B139D278489F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2" creationId="{9265571D-5355-F765-51E0-AA7EE7D8DD3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3" creationId="{131C37FD-3A40-8A2A-1FA3-2A6B64C84B3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4" creationId="{85AD8F46-81AE-AA8D-B8EC-0A57189937C1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5" creationId="{5B673EFF-7CF0-8CDC-68DE-7E512AB6AB66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6" creationId="{C82024E1-A8D0-95E3-BA80-E61DF0509F8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7" creationId="{C7E32960-C601-09C0-79D9-F8D46EAFAC4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08" creationId="{FA292119-9760-82AA-C9C5-AF8065CBCB70}"/>
          </ac:picMkLst>
        </pc:picChg>
        <pc:picChg chg="add mod">
          <ac:chgData name="Cimer Ádám" userId="8a923def-9a81-4ceb-8db9-424f2c16c007" providerId="ADAL" clId="{EBAB697D-D0C1-4C12-BAC8-A0BA9B60B910}" dt="2023-03-07T21:32:54.328" v="330" actId="1076"/>
          <ac:picMkLst>
            <pc:docMk/>
            <pc:sldMk cId="419211473" sldId="260"/>
            <ac:picMk id="1909" creationId="{62234BAD-95E1-C6B5-3B33-BE94784C478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0" creationId="{6D354130-13A2-EC89-003B-7A76EEC4F02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1" creationId="{FD4F9A96-9BDA-F58A-6AA5-E37394D92729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2" creationId="{33E2AF94-17D9-DF85-2A2E-102425F75FC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3" creationId="{F73E064E-CCA8-6B6A-6258-5E0905E1618A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4" creationId="{F028C571-9A93-2D12-D59A-921EB100C9D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5" creationId="{19675622-A30E-A45E-5457-86C28F74E1C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6" creationId="{EE1D57F4-09BE-3891-70AD-A3C49148333E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7" creationId="{DFE59AE0-5672-30B8-60BD-5E810A87616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8" creationId="{4D5F0DDB-C2AD-FE8D-0140-2931463349E7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19" creationId="{E4AA6A68-899C-C4A8-C4D9-B8FD3C216444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0" creationId="{29A2EE92-F9C2-F052-7154-14DBBC457058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1" creationId="{AAB79E6D-C3D4-DF58-0F0E-7B66CFD89333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2" creationId="{CAE529A8-FA55-C86D-D28D-B5BB026F298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3" creationId="{A0F5138F-31D8-BE94-F029-63CAA879B39C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4" creationId="{BC68C74A-F2FF-F88B-E5C4-CA2E45C77845}"/>
          </ac:picMkLst>
        </pc:picChg>
        <pc:picChg chg="add mod">
          <ac:chgData name="Cimer Ádám" userId="8a923def-9a81-4ceb-8db9-424f2c16c007" providerId="ADAL" clId="{EBAB697D-D0C1-4C12-BAC8-A0BA9B60B910}" dt="2023-03-07T21:30:53.341" v="305"/>
          <ac:picMkLst>
            <pc:docMk/>
            <pc:sldMk cId="419211473" sldId="260"/>
            <ac:picMk id="1925" creationId="{745E92B5-A10D-AD22-EC0F-F1DF4322933A}"/>
          </ac:picMkLst>
        </pc:picChg>
        <pc:picChg chg="add del">
          <ac:chgData name="Cimer Ádám" userId="8a923def-9a81-4ceb-8db9-424f2c16c007" providerId="ADAL" clId="{EBAB697D-D0C1-4C12-BAC8-A0BA9B60B910}" dt="2023-03-07T21:32:41.364" v="308" actId="21"/>
          <ac:picMkLst>
            <pc:docMk/>
            <pc:sldMk cId="419211473" sldId="260"/>
            <ac:picMk id="1926" creationId="{7660F327-5008-E4A9-DF76-E7889C76BA81}"/>
          </ac:picMkLst>
        </pc:picChg>
      </pc:sldChg>
      <pc:sldChg chg="addSp modSp add">
        <pc:chgData name="Cimer Ádám" userId="8a923def-9a81-4ceb-8db9-424f2c16c007" providerId="ADAL" clId="{EBAB697D-D0C1-4C12-BAC8-A0BA9B60B910}" dt="2023-03-07T21:30:16.686" v="298"/>
        <pc:sldMkLst>
          <pc:docMk/>
          <pc:sldMk cId="92152157" sldId="261"/>
        </pc:sldMkLst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" creationId="{14A14B17-0F2F-C0D5-2A7B-CCDBD1E5954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" creationId="{C411B736-7163-9C27-4A12-D7BE1E50095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" creationId="{05C3CA21-F44A-3E01-B2A1-E89B087D339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" creationId="{13B977D0-D9F8-409A-B0D1-BDF1216A9F3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" creationId="{BB66C909-39D4-C48C-8A09-246DE4D24F0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" creationId="{F419227B-3F57-8DD8-E10D-3D81729034B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" creationId="{B0BFBE1E-8754-70D1-E68E-FC6FD2743E2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" creationId="{2B0945EF-9936-8F66-EF59-4B0F8B8E401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" creationId="{317F5A89-80DA-BC8C-F3E5-CF0C6137EB7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" creationId="{A038A929-ED1D-60AD-C6AE-521D3D7FDA9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" creationId="{75706A94-AECE-5C67-B6D3-6F32125D71D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" creationId="{65A3C6EE-7FE1-CBF5-1B0E-68A407E17F1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" creationId="{059C988E-F705-94BD-B49F-FE5189B8405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" creationId="{DD37612D-8588-5592-5345-A529542FF21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" creationId="{ACE6D892-2BAD-6FD1-82CA-8F059A52615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" creationId="{02565341-ACDE-C036-660E-F1F62E8B745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" creationId="{624068ED-B12B-E4C5-8F01-4E7ED5B6B22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" creationId="{58F2A684-0587-C00F-A12D-B83F24A23A3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" creationId="{6350F957-D616-27B3-5BAD-F2D6C37ADEF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" creationId="{2DACB530-A45A-49E4-6C8A-0A6F3667AE5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" creationId="{804D60F7-3FF1-7FCE-D216-893B63690E5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" creationId="{3CB36618-C3FA-2F6F-52C8-CBBF546E7B9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" creationId="{8CE32CE4-39B3-B473-DB61-73302929C55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" creationId="{02892BDF-837A-F843-1237-BC8BEFB333D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" creationId="{A1CAD01E-87EB-AE6D-FCA2-09D41CA53C8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" creationId="{E649E00F-422A-2EB3-EA7B-BB83697E5F8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" creationId="{EADE54E3-64E1-F1A6-6882-0D650CAFCC5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" creationId="{0E35B3C0-3719-33FC-6A05-40A6CFF244A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" creationId="{0BC535E8-5128-B76D-0721-7E8FB1E7FE1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" creationId="{0C21495A-D388-7C08-D99C-B3503EEBDA8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" creationId="{D8B7AED6-4A6E-F7E9-62F9-EAE1D6FEC2F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" creationId="{D565CD66-294E-88D1-48DB-2D18277C06D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" creationId="{F69B0378-62D4-772D-F412-4BDC00C5128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" creationId="{4AF7E841-6FC2-6592-7789-F60AF6A8BC2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" creationId="{46021ABC-6FF0-8C92-C5D6-75756986FFD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" creationId="{A27F43FE-D391-F0AD-9537-88A284BA48C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0" creationId="{2F74536E-FE70-7F24-187F-13EAA6FA382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1" creationId="{42D0EAED-9CFA-BB31-49EB-35599118C7F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2" creationId="{D3C714E6-2870-415E-A1AF-BB631059915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3" creationId="{F131A41F-0EFC-0C9E-D6C5-69D4FF275A9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4" creationId="{A5ED0605-2AFC-A0FB-3008-07047C8F2F0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5" creationId="{54626613-0E1E-7B8A-D8DB-30FF49DA20C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6" creationId="{6C1AEA12-6742-3087-BEC2-932FD8CEDA5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7" creationId="{010C1787-2622-1789-083D-ACEAAD1FEA6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8" creationId="{49C66913-2EB0-D6A8-3289-C1C6AA24FA4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9" creationId="{A401A553-E6B6-A236-107B-5618F008F52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0" creationId="{441CCFF5-BDD7-CDFE-A298-8F46D685884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1" creationId="{922ADBF4-720E-E387-666B-77A338B944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2" creationId="{27180060-A0A4-6F76-12A3-20CD8E8E60A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3" creationId="{CE2D7BD9-6EC7-52A7-3B0F-9E506B9FBCF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4" creationId="{0D37A64F-E984-ABAC-CBCC-DD22751797A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5" creationId="{28929356-18A2-4FB7-9574-4EA2FABDD7F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6" creationId="{A7EDE301-EFDB-0364-811D-71B44BA9E0B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7" creationId="{061CC2F1-5F36-9843-8091-142278E0742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8" creationId="{5B3E575B-85A8-E90E-D8A3-413217EDF6E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59" creationId="{9D82935F-C0E5-EAF3-4E05-EB344747C0E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0" creationId="{2510C6DF-CA10-DE83-DAD9-76A5D587B9F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1" creationId="{1119F9E2-2B7F-DFEB-B394-2E1EC3A8EE4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2" creationId="{0DEB947D-D545-EDA1-7F0A-6CB2C1B2EBB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3" creationId="{FFEED206-F33B-A506-8ECA-77B36707273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4" creationId="{8FE34ACE-6E66-561B-AC4E-65600494E6C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5" creationId="{706DC800-7C73-6930-853F-DB163AE9A00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6" creationId="{3434EB20-2F74-8B85-FD40-D78B53046DF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7" creationId="{98C95158-F34E-6460-D211-45A0707D4DE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8" creationId="{653320D6-9ADA-4553-C218-C3B7E17C97A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69" creationId="{1B59D91F-7198-881A-08A0-1AD11D67756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0" creationId="{BFB0BE81-0443-E61B-D9E4-A651C16E49C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1" creationId="{FF3D4F57-34C4-8723-3685-470C816B226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2" creationId="{CD26CBC0-C77A-3ADF-723C-57E5E4B3F2C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3" creationId="{756FAE2E-C3BF-F1DC-EEB4-7895E9A38CB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4" creationId="{CA299B6D-E146-A0ED-4394-5BC912983F0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5" creationId="{DBF7CE9C-8939-2E4D-BB27-98E6052EFC1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6" creationId="{4E04F32C-5594-FEED-7592-FD4D9EA5FBC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7" creationId="{D0CFB230-432E-7F67-93A8-F6CA6A9F737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8" creationId="{2F13A2D0-0CDB-9831-E28B-16B445A7513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79" creationId="{115485DC-C6CE-BEAC-62AE-7642A0038FD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0" creationId="{E41A3B7D-6FD2-5156-00C7-966790CC983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1" creationId="{B2476B42-1B34-D77A-16F3-2AE49DBE8D5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2" creationId="{D0E8E264-92CA-79B2-1E2A-D70734960CD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3" creationId="{015BF712-4C27-28E1-906E-D906336FF11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4" creationId="{CC1F75EB-D1AA-A3CC-8BD0-99BD37E3A5C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5" creationId="{EEB25A1A-9B3D-B21B-3493-FC88BA73ACC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6" creationId="{9BF06FDE-97F8-2190-381B-65B5C698CB3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7" creationId="{7ECA2AAA-68D7-B384-C416-21E5AFB31C2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8" creationId="{72F974F9-923B-66AF-BD7C-5C5384D1D0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89" creationId="{849FC9D1-93B5-D373-4865-5448C89681A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0" creationId="{1309B7B4-4393-57E7-2156-43FE488E71E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1" creationId="{FE8FF506-E1E6-ACD0-17EC-7E48FB506B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2" creationId="{CE8827F2-83A3-9920-1897-A45C0492B9E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3" creationId="{065E837C-3565-81FF-C12F-90DE38502A4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4" creationId="{AA84C182-718A-8F49-73BA-F868E45A639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5" creationId="{93B9DE9E-791F-D4C7-D1B1-DEFC8B503BE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6" creationId="{CB102A48-9C1C-B0F5-8E52-C27D80D5146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7" creationId="{D49AB5B5-48B3-DE84-4C20-43C13D07300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8" creationId="{722C32B8-F8B7-E134-AD2A-8A58CE4BC71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99" creationId="{202110CE-73F5-4B34-A23A-4C90C1B052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0" creationId="{E35946BB-67E0-CA40-3A9B-769D2817B7B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1" creationId="{1ED09FC0-A321-4318-383D-19FB3126486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2" creationId="{0FEA7183-9365-7E13-DBA9-3F831C9A735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3" creationId="{4B11BA8B-AE4C-6E75-C187-2C3406420D5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4" creationId="{7A9287EF-2AD5-E9F9-A703-29A1851C6C2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5" creationId="{6D19A102-EFB2-1BD1-F334-C9A962871E8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6" creationId="{F08541F5-2397-43BD-EB50-CF97842E76D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7" creationId="{72B1ECB0-E3F7-E639-7C0B-6D709961D01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8" creationId="{1ADAB414-7948-F6D4-2B8B-4159EF983F8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09" creationId="{DDE53F5C-6EA7-8455-4571-6CD4C00A4C2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0" creationId="{1E832699-A93E-9805-74DE-3F0440F0487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1" creationId="{2C52690A-E738-BB68-C812-ED9E0FE070C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2" creationId="{76B178E1-DA5F-3D7B-4294-7656844493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3" creationId="{9F7FBFF2-BB3C-B064-8111-ACB3A893213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4" creationId="{BC41583D-D849-0B0B-A983-168D649EC8D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5" creationId="{97E45362-A081-BDA2-C578-F39DC8F151E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6" creationId="{6BEF3A1E-9778-FD9C-4247-08BA7462508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7" creationId="{526F5F0E-F04B-546F-6FB1-4F00C0176B2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8" creationId="{A8122671-DBE6-FA3E-8898-8537BA6FEC6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19" creationId="{80B27ECB-EFD9-B123-EB7A-74F15398E90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0" creationId="{CB469D0A-F451-5514-A8B7-C7C90560E94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1" creationId="{DF245388-A4C1-9126-CB45-D50F1C6F498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2" creationId="{D52E3E27-ED71-29DE-9A7E-666233381C0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3" creationId="{9AC1DA7D-9FAC-D058-5C18-A472154C776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4" creationId="{A20E518C-2F81-ACE5-4620-E7AF79981FE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5" creationId="{2BB19601-E8AD-F430-3B46-3EE3E9BC0E0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6" creationId="{A9958784-5046-8D1D-915F-A079C9F1824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7" creationId="{53E76517-A5FA-7266-3B20-F6A173E8129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8" creationId="{E6600DCA-3730-8013-1214-252916665FD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29" creationId="{6D17C464-8FB9-3075-08C1-5F200C4C999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0" creationId="{1D0D46AA-6163-5E7C-C9FF-EE1E6D134F8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1" creationId="{34CF05FF-49B6-5144-9B17-5E204C14BDC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2" creationId="{9188FC81-0228-0C0D-51C5-48ECACBEB6D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3" creationId="{09E984B2-72DE-EC78-1FEE-DFE522B764D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4" creationId="{13F6A84E-7509-2A1C-742B-C5CF44F81C9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5" creationId="{3B0DE007-F341-4E40-598C-FCD2EE25DD0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6" creationId="{3CCCAE8E-BBCA-76BD-8E05-C8E5BA1C918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7" creationId="{D64D72DD-0BF7-0AF0-3B71-E5894CEE525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8" creationId="{DB84B543-52D1-584F-CFBB-FB07A274A6F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39" creationId="{861C8E5C-9F30-B1AE-A5B8-3A90C5F9E67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0" creationId="{783449CC-A3E8-B172-A3BC-52B33A60B54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1" creationId="{A5A1D724-AD70-7815-6165-4B7FC18C22C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2" creationId="{BEBC4CA8-C414-3D37-DD81-B2A46DAC3FB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3" creationId="{4F57600E-6760-5410-5217-F6354F64687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4" creationId="{D097CD24-4238-F691-92B3-135AFE49BC2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5" creationId="{5DA7A97C-CF0A-DA84-2299-B891013DE28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6" creationId="{112C1B18-64E2-9296-44D7-0CB6B7566E6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7" creationId="{6F67E0F0-A63E-AA45-B44F-8ED5203B59B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8" creationId="{C15AB2FA-EAC1-2E38-0646-031424A39D7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49" creationId="{0990EC67-A529-B840-D7B1-71C5D0152C4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0" creationId="{CE7AA338-DDE3-0863-0345-1109B159BDF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1" creationId="{AD60043F-8345-EA97-BA59-0CDCD7132DE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2" creationId="{ACC27F20-E761-F284-8D0B-A0733039981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3" creationId="{C0FBE5BA-532D-5B7F-1A97-1715F465B1F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4" creationId="{A93563EA-02C6-B0AD-ED88-CC194A0263B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5" creationId="{6AAD8676-470D-549C-3449-8D9C44984BD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6" creationId="{F1CB2563-9DEF-8673-D871-D90B6F20408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7" creationId="{E3F45E25-6462-539F-400C-ECA8B94CCF7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8" creationId="{89759E7D-0C58-6837-9FBD-D5820CA26DE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59" creationId="{A82B62C0-B18B-EA6B-D742-44E2476CA91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0" creationId="{5EF79262-5BF3-C01F-6930-5E0DC165D4A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1" creationId="{79D51A60-E252-18D7-1595-DC3292BE366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2" creationId="{83E9ECD2-BD40-B37B-CD38-D9E1C3BE9A1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3" creationId="{2C9CAC1A-0EE6-A453-3359-5B0BB8BBFD2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4" creationId="{069350CE-01A8-5E08-CB5C-B4B405E8102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5" creationId="{6A93B0B3-A233-FCD1-A7D6-68960538C9B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6" creationId="{7508D5E1-53AC-BDD3-8197-1DDAA40DDA5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7" creationId="{12B985AD-359C-1A95-7BA7-FD92CB398C9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8" creationId="{3FA320A6-B496-1121-7207-877F5FF233A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69" creationId="{34EA58A8-D045-B786-5EF0-042746A48F1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0" creationId="{D1E9AB40-DEF8-A111-C1F2-CA42A4DF9EA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1" creationId="{6B5701D7-332B-A14A-73B6-DEDE460475A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2" creationId="{4846AEE3-1FCA-7D1F-69F0-D3ECC5E470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3" creationId="{B58004AD-9537-D2A7-C563-8CAA9456386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4" creationId="{2607E268-7217-4F8B-15C2-F0E85E4B895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5" creationId="{844DDD99-D09D-27C8-810F-74CF91B14FA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6" creationId="{C828A95F-7B78-49F0-24AF-F2842112FCF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7" creationId="{93F5671D-D3F6-B31B-AA73-91E916D8785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8" creationId="{B006FE8E-5301-C6F7-A1BE-87BC8AC3228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79" creationId="{B1D7E656-3B7C-1316-74AC-F207FA72DDE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0" creationId="{6EDCF798-C443-D3F8-3196-CA4D382AE3B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1" creationId="{1C188B40-BD0F-58EB-B66A-4E050F11419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2" creationId="{CD147B40-B27C-19AE-DEBA-0B1E449BEF2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3" creationId="{93368C52-AB09-8753-E650-973BE7AE80D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4" creationId="{2BA24091-6096-2D8B-083A-E86FD01B368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5" creationId="{2BB1A4C2-81C9-D978-6C2E-1CB72841971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6" creationId="{D57A077A-9ECC-63D3-AF4A-D057C747836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7" creationId="{1E6CFA2A-70EA-6712-2425-B6A13C1395B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8" creationId="{5A4A7FC2-8650-C51D-1F8A-8F3C36DA01B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89" creationId="{380272A7-2526-CBF8-AD6A-E270B59250C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0" creationId="{B85A0B4C-2F6A-4C44-1104-45D51D3413F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1" creationId="{DA6AF811-91F8-5381-C027-E9CF678D725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2" creationId="{2A991854-98DA-6777-0720-556D5DB43A0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3" creationId="{C69A0753-270F-C316-66A1-DCAFB6DE572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4" creationId="{37F01C3B-21D7-372A-6361-B32549178B7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5" creationId="{D951DCB9-D17C-F577-79C2-62FA4F4F60A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6" creationId="{A60F1006-E595-5260-B8C5-2FC789B9D28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7" creationId="{38DCFD21-AD41-6744-2837-8E7B4E57F6E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8" creationId="{255A34AE-5DB7-312A-93BC-69B1180B24F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199" creationId="{E86D89DE-D164-D680-7D4A-0F00EFB66F2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0" creationId="{6136383C-5DD0-C374-A540-1EB84802F6D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1" creationId="{17E35F1B-6FF5-7933-3121-27C99A40A62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2" creationId="{98250401-4623-5C92-6513-7434CFDE1F5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3" creationId="{735F9562-17A4-259F-095A-B4B420C1F2E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4" creationId="{9EF110CA-6B4D-C8AC-C058-79A9A2AAD54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5" creationId="{AD657560-4E0B-86F4-3141-3BC6582514F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6" creationId="{F0D3972D-2D4F-6139-0012-2F0928887DC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7" creationId="{5B5A8EC6-1F4E-A0B2-86CA-8CCB3336E59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8" creationId="{FC7FAB8A-B24D-A93C-FC46-6851D380BE3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09" creationId="{E041CFB6-8DF7-049A-07FE-508C02F62FB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0" creationId="{846D62F5-5145-CFB3-8DB0-23C86135369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1" creationId="{D5D2A7A4-FF19-E09E-CCEA-5DA77A5A505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2" creationId="{D2C670D0-0CA5-FA7C-101F-3B0A12E9EC3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3" creationId="{04D620D1-7338-B6D9-12BD-92F8AD0E900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4" creationId="{413695AE-C30B-500C-3C23-5DAD1431B79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5" creationId="{6B012769-38E0-8BE2-3E18-01ED4298852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6" creationId="{8DC6B75C-7FE7-E329-56D7-C7128238AF3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7" creationId="{A6C93777-0D06-AABE-C333-304D00B84AA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8" creationId="{29F32A5F-41A6-85B9-3F1B-CEDBC05C9F0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19" creationId="{0A43B625-7B7E-D971-2E45-F84AC08282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0" creationId="{1167C39D-7288-0746-ABF7-587583FF8A7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1" creationId="{0C78B85A-62B7-6A56-8298-9863969DE37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2" creationId="{30F3DC33-AA1D-3D43-F173-89D4BBA5705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3" creationId="{B1855FC9-BB4C-A259-D8F5-520973051D7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4" creationId="{5CF4AC45-4393-52B3-0A56-65B3F40DC56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5" creationId="{9CE05D85-53FB-4282-4749-CF86C45560B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6" creationId="{D0671F45-EEFE-CC3D-5302-D180C18FFBC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7" creationId="{A9F56553-1BFB-222D-148B-00BEAA3EF47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8" creationId="{87F36616-F9A4-6996-11E3-A26A8C72C57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29" creationId="{43C4869F-C0F3-164D-294A-94F5B5C126C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0" creationId="{63D64904-B8FF-486E-9572-EA358B817D9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1" creationId="{6486221A-D73B-3553-95C6-1DA4B2BC1D2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2" creationId="{8D95F09D-7FB2-31CF-B25E-43C2E96FFE4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3" creationId="{18E21078-A82C-527F-BC00-0E30C7ACDA8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4" creationId="{2908FCD5-2F6D-5B25-2F44-6DB1D1C8A84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5" creationId="{CD6F3705-E927-AFAA-9A54-8E832423B88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6" creationId="{5E499AC3-C50C-A6D3-E4C5-71ED28F4A8F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7" creationId="{A6F1E931-E548-2088-B625-9305C116178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8" creationId="{8A03643D-5A78-D232-DF25-3587997C290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39" creationId="{EF04D618-9579-9779-653F-76D87A080D7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0" creationId="{78AF3C0D-2654-CE36-89D3-0AC400B55DE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1" creationId="{CEC83F09-E0A1-8148-42BC-07FC531ED8E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2" creationId="{0F9641BD-F1A9-5E50-F063-CFE908FC64E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3" creationId="{EC28D892-A9ED-546C-D5E8-2CE4F8B13A9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4" creationId="{78162C16-79DB-9B71-FACE-865BF06F76D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5" creationId="{B2C4461E-17FA-17FF-2AF7-0348B824587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6" creationId="{1D085179-85A6-7C49-38F4-BDFDF636C69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7" creationId="{2FD88D82-5F0D-4A17-1333-A65EF219443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8" creationId="{563DE8AD-9544-3E41-5C88-C85F53EB926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49" creationId="{1BC7AE16-77DF-F5E3-7967-055184EB8DE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0" creationId="{25FDEE26-0973-92EF-7CBA-D0D9E4D7412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1" creationId="{F9F39B97-D18C-AFF5-E85B-C42A08ED9D3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2" creationId="{988A1FA6-3E3A-2858-98A2-0723F87B1BA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3" creationId="{BD4BE126-D9D0-49A5-0D5E-13928EF629D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4" creationId="{366760B3-EC7C-D4A0-8AF5-3E6AEB505CD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5" creationId="{2D221BE7-6BEC-C1D6-39B8-95EF5A90954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6" creationId="{2233CDB9-B7DE-B0A7-CB84-52778E69753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7" creationId="{C7850338-6B21-5C39-E242-424E596EF00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8" creationId="{5A273B66-D43E-F5EA-55DC-01AF65A7CCC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59" creationId="{AE6C3D58-FCEB-1039-BB72-6844A8EDF61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0" creationId="{C62319E9-2370-C74D-1B7F-01CB5E1F23E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1" creationId="{9EB92182-4BAD-8D04-6004-B1AF3F7206E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2" creationId="{ECA366C6-18D2-1826-8558-D6E0B3B6846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3" creationId="{426D36C5-27CF-52FA-5623-3A0EAFC87B6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4" creationId="{48E9DA07-0540-0D9B-7E90-1B94125A242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5" creationId="{1798701C-41A7-7F5C-B401-2DFE9503DB0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6" creationId="{A2E04188-3D43-B6A0-7FD7-71B9251ECDA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7" creationId="{E3205D35-A533-9D77-20E0-1E67954CB52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8" creationId="{84866115-A75A-63FC-A174-3AEDF8072F0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69" creationId="{02FC5EDA-E572-791B-62BD-A097327271F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0" creationId="{928CDF28-48ED-F3A7-73BE-B1BC1F867B6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1" creationId="{CE04A7B3-9E82-D12D-D742-5A7BE545A7C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2" creationId="{5DC5D01F-7E07-9239-A2AE-2A988D04099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3" creationId="{8C01168B-4489-4C96-FEA0-15F55C4493B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4" creationId="{00BF7DEE-8C4B-AB87-66E5-720B28D6320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5" creationId="{014C05F3-BF94-2400-A1DB-DEAA9D728CD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6" creationId="{49D6BA21-730F-C57B-5E7E-3BD07D1DF85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7" creationId="{DB36562D-2ED1-2466-AB72-6778B94E6FC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8" creationId="{A8BD4E95-44A4-1EF1-C0A5-A4306BF148B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79" creationId="{49801BA2-B6BC-0C8F-7A6B-37DED04D039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0" creationId="{EE569094-7993-ED24-F1EF-356E31B0844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1" creationId="{91A0B1B8-0F16-948F-F22C-2DA870D2580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2" creationId="{D987168C-C0BC-7DB9-153A-13F21367BF4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3" creationId="{B169D64A-584E-FAC1-3602-B37D2C484D9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4" creationId="{541B6207-152B-7A9E-61B4-71E34615951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5" creationId="{4C0B85DF-D921-C649-81E0-A2503462428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6" creationId="{BBF0743D-DBC4-D58F-4484-1ECD15AD1C9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7" creationId="{D54AD226-12DB-084A-5D5D-AABB4DB6EA7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8" creationId="{829335F8-4A90-330F-D300-672FB5F288D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89" creationId="{DD9AD18A-0A96-FDEE-5E3B-0FCF0817E7C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0" creationId="{F104DF6A-6DCD-DC4C-66BB-513830E660C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1" creationId="{89434F90-AD6F-D665-4452-4802A957E7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2" creationId="{EFD09A41-E61C-FD09-9F22-320E8DED043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3" creationId="{8D508CDE-00D0-16F3-3EE0-B9BEB0E662F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4" creationId="{4F26A292-9273-6033-45A4-54B32285DF4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5" creationId="{C21867B3-5CED-C549-46E3-D251C6F7423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6" creationId="{8D8C2807-F94A-A8F9-4642-A9A1A715100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7" creationId="{5B79A9D5-A987-47E0-536A-04CE366A3AC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8" creationId="{A3961E85-1178-5BF3-B063-0254E45F36C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299" creationId="{EFE8FFF3-9A7D-EFA6-AE57-BF5326D0CB1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0" creationId="{AF3A1675-684F-54A8-6F84-3545A36EF6B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1" creationId="{F6DE53B4-40FB-1979-A9D5-423A5F6FC4B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2" creationId="{661F5186-FB3E-FBBB-58BD-192654CB8E6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3" creationId="{8CB59683-8893-61A2-9D5F-C2AAD56AA79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4" creationId="{4BAD23A4-65CF-994D-EB21-DA7AD6065EB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5" creationId="{851E95A5-2584-4184-A6A5-17147E976A1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6" creationId="{159B323F-8EE8-402E-AAAC-92296A56D74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7" creationId="{EDD4F695-1C56-A91A-E1E6-21858CDA488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8" creationId="{45F1DD71-E9C5-909B-B9F7-494EF420EE3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09" creationId="{D9D9E717-634F-809E-A388-072DFB25BE1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0" creationId="{D54B5645-C4F3-1460-0628-575005A1367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1" creationId="{53DDF456-B49B-A118-5F71-ABDB3B5A5E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2" creationId="{E8334330-2390-678F-3457-2A3E43D1A66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3" creationId="{CC03A017-9DA7-A11D-4B47-4E9F056DBC8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4" creationId="{7569ACEB-8696-C1E4-0B76-989693C986C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5" creationId="{B172DF74-12EC-D930-D0FB-79CB5710EAB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6" creationId="{8599B257-E0C5-63E1-952F-DDBEDB3B100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7" creationId="{A639CE61-602F-5FE9-A2E9-6355BDA79F5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8" creationId="{5806B8C8-EE78-3349-D9D0-9A35E871BB9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19" creationId="{69F84EC0-77D8-645F-67D4-223CAFA04C9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0" creationId="{944D2DD0-CAF1-E177-7E09-879C6F98ADC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1" creationId="{0FE224C4-6189-802A-6DAA-DD4E13C2573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2" creationId="{BA6CF3EE-2E4B-90CB-EE8E-8E15A89B6BB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3" creationId="{AC784FB1-E0F3-3BB7-35FF-2BD96DC92C8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4" creationId="{D25DED5E-A6F9-AA0A-D17D-267E2929525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5" creationId="{5CF270BC-6E6C-F76B-B602-C18AEB70655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6" creationId="{A70BFA40-6F09-3E25-5283-D8DC83C79D7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7" creationId="{6AF36B0A-7EBC-DEFB-E55A-B805E73074F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8" creationId="{CD0935CF-BEDF-8516-9DCD-C77CCC7E512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29" creationId="{0D2B713B-818F-88A8-0547-4D88EA1F260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0" creationId="{99F42AF6-4A9A-C004-E766-7806A035704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1" creationId="{20FD1253-1038-2375-F9DC-92C73D0179B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2" creationId="{B69F081B-4255-34E6-50E6-BFBF2003529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3" creationId="{256E4F5C-8ADE-6392-FDCF-4356841C01A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4" creationId="{EFE0378C-34C5-D711-F11C-3C73B5C721C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5" creationId="{AD158909-6145-6470-A9B0-4ABFC9382BF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6" creationId="{AAFA2980-8BE3-219C-FB1E-A0EF768107D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7" creationId="{32876739-A02F-D6C9-61FA-8D82315A7DA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8" creationId="{834AEDC2-D63A-C16A-08F7-05AD6D2BB3D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39" creationId="{F4C45675-EA22-6DFD-9DEC-B4B2EEA4034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0" creationId="{559F76BF-C179-2C5E-2D5A-BDA4B26DC33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1" creationId="{CCECDFAF-1D96-A565-D38A-F6A6F865C13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2" creationId="{B1719238-1F26-68FC-C04A-2B6C65BDEE5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3" creationId="{096627B8-5185-5F11-050E-6ABA51CA247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4" creationId="{1D9C27E1-303B-DDEE-6594-7A331FA148A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5" creationId="{82B30D3E-2F98-0409-D2CF-120EB1754EA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6" creationId="{9FF16980-94E9-22B5-0EF2-8CCBA6F04B6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7" creationId="{C930330F-61B7-88F8-EB13-6BA800B9093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8" creationId="{9C93C53B-51EB-0A54-10B5-2EF18C20FA6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49" creationId="{4FB09D9A-DE9C-CB06-2ED7-AF70768D720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0" creationId="{582200E9-0045-D938-7118-F3F171845B3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1" creationId="{5882313E-81F3-1EC9-E547-66DCE168B22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2" creationId="{A9B2CCB0-4913-31F7-F8DB-59930FFA753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3" creationId="{1810F90B-9A5A-7E18-B158-34A16E3E68D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4" creationId="{CC1E93E7-5693-BE25-294D-BD03904AF22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5" creationId="{CE0A6243-F131-D475-D672-3EC69E51C2E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6" creationId="{9DFADD0D-1ECA-17C8-355C-BE43AC9474A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7" creationId="{C2C91279-BC96-16E7-73C5-36B8CE12253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8" creationId="{CC6E765D-D58D-0BED-DD7A-740D2AC44BB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59" creationId="{255121DD-FE13-8C71-1C7A-1EF84AB3684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0" creationId="{78F75337-346B-9648-E5AF-63321AC23AE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1" creationId="{F318095C-D0D9-AE64-7085-6EEF3F87EA3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2" creationId="{511C171A-0FDD-7ABA-11E8-1663511DED1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3" creationId="{C4A702C8-84E4-E528-7E3A-3F139728B88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4" creationId="{AA10BCC7-402C-0992-A416-81B7DE6AFC5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5" creationId="{0AFD20E0-BDAF-C3A6-34FC-DDC2281A4A6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6" creationId="{F148235E-D17F-3670-D146-CA5B5F0C4F6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7" creationId="{1601903E-812B-A7CD-AEC0-88E06FF83A5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8" creationId="{486580D8-90CB-6D7A-1C49-C71CC5FC81D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69" creationId="{5815C68C-A5AD-4F16-9634-B3E88A29FA16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0" creationId="{513A2E48-7FAA-1012-AD16-C6FF9F9FF40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1" creationId="{E60CF4E2-5FD6-481D-7345-EE9788C5A4B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2" creationId="{FEB823AF-A093-D91B-0F2C-11C625B45C1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3" creationId="{600D0326-4805-DC41-F491-10265D12A4A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4" creationId="{666895C9-9158-B6AC-08DC-7E45DEDBBC6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5" creationId="{88C3F20A-8EBB-73B5-C2A7-95AA4CF0572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6" creationId="{A1D307E2-C45A-4C18-A93B-360181C5CC3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7" creationId="{CB997B49-F8E3-0BF3-2FDA-D466B11187D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8" creationId="{646CA3BD-E5AF-819E-78E2-BD2E52690F57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79" creationId="{42C8918C-74D7-62F6-7AD6-627EECBA820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0" creationId="{C558E607-FCE0-A8BE-4A33-E0834B0F8C0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1" creationId="{EA02B716-3785-F452-D610-275F64101A7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2" creationId="{E70268A5-BA0C-B5C3-3C9D-283FEA64EA1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3" creationId="{230CE233-5396-E2D5-9D6C-18496DDA49D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4" creationId="{A814B816-6607-A32A-8951-25AFD7205ACC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5" creationId="{1B4D8CEB-F83A-3B7A-DC2B-7C58DE019A0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6" creationId="{194FAE65-4E39-3917-A734-E58704B2AFA1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7" creationId="{ADFD0014-343A-9DEF-E005-127982FB498E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8" creationId="{44548701-CA3D-74CD-C3B3-21AE89217FCF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89" creationId="{EEB9B3DB-5259-BB32-A43D-89391A320EC2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0" creationId="{0DABD70B-8156-1916-087E-D1A204E5B60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1" creationId="{48EDDA96-9CAA-456B-85A0-EACE3984F780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2" creationId="{FB9FC20C-FC6A-9244-317E-CBF770C07ED9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3" creationId="{9815EB31-B1DF-E6D0-8DA0-B1D05B5747DD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4" creationId="{2B0A8CB5-1252-DA16-5D69-AC7AFE5BA82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5" creationId="{035EDCE9-2794-C496-1739-16C0AEC6D345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6" creationId="{D45E81AB-B18D-9896-682B-5F78E500FB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7" creationId="{A45C3A56-722E-E75F-7758-5F810DDF8DF3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8" creationId="{618F198C-6DE0-0A8A-BDC1-632EFE8CEE18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399" creationId="{F164D6D2-C6AF-3A7A-301B-C49B9B1F1FC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00" creationId="{111FE34D-28CA-2072-D41C-528D9BA3AADB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01" creationId="{28E2ADDE-1015-AD8C-6345-F1BE02D9D2C4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02" creationId="{16BF5B53-1FAB-8038-61F1-74068C70A61A}"/>
          </ac:picMkLst>
        </pc:picChg>
        <pc:picChg chg="add mod">
          <ac:chgData name="Cimer Ádám" userId="8a923def-9a81-4ceb-8db9-424f2c16c007" providerId="ADAL" clId="{EBAB697D-D0C1-4C12-BAC8-A0BA9B60B910}" dt="2023-03-07T21:30:16.686" v="298"/>
          <ac:picMkLst>
            <pc:docMk/>
            <pc:sldMk cId="92152157" sldId="261"/>
            <ac:picMk id="403" creationId="{8AF5C488-8036-1D6E-93D0-D09DA57350C2}"/>
          </ac:picMkLst>
        </pc:picChg>
      </pc:sldChg>
      <pc:sldChg chg="addSp delSp modSp new add mod">
        <pc:chgData name="Cimer Ádám" userId="8a923def-9a81-4ceb-8db9-424f2c16c007" providerId="ADAL" clId="{EBAB697D-D0C1-4C12-BAC8-A0BA9B60B910}" dt="2023-03-07T21:34:43.235" v="356" actId="478"/>
        <pc:sldMkLst>
          <pc:docMk/>
          <pc:sldMk cId="2637189114" sldId="262"/>
        </pc:sldMkLst>
        <pc:spChg chg="del">
          <ac:chgData name="Cimer Ádám" userId="8a923def-9a81-4ceb-8db9-424f2c16c007" providerId="ADAL" clId="{EBAB697D-D0C1-4C12-BAC8-A0BA9B60B910}" dt="2023-03-07T21:32:46.891" v="311" actId="478"/>
          <ac:spMkLst>
            <pc:docMk/>
            <pc:sldMk cId="2637189114" sldId="262"/>
            <ac:spMk id="2" creationId="{E4D195CB-94E8-7071-2C02-3A544C0D6B91}"/>
          </ac:spMkLst>
        </pc:spChg>
        <pc:spChg chg="del">
          <ac:chgData name="Cimer Ádám" userId="8a923def-9a81-4ceb-8db9-424f2c16c007" providerId="ADAL" clId="{EBAB697D-D0C1-4C12-BAC8-A0BA9B60B910}" dt="2023-03-07T21:32:46.891" v="311" actId="478"/>
          <ac:spMkLst>
            <pc:docMk/>
            <pc:sldMk cId="2637189114" sldId="262"/>
            <ac:spMk id="3" creationId="{40182D30-7033-F6AB-5AF4-690940E67D88}"/>
          </ac:spMkLst>
        </pc:spChg>
        <pc:spChg chg="add del mod ord">
          <ac:chgData name="Cimer Ádám" userId="8a923def-9a81-4ceb-8db9-424f2c16c007" providerId="ADAL" clId="{EBAB697D-D0C1-4C12-BAC8-A0BA9B60B910}" dt="2023-03-07T21:34:43.235" v="356" actId="478"/>
          <ac:spMkLst>
            <pc:docMk/>
            <pc:sldMk cId="2637189114" sldId="262"/>
            <ac:spMk id="6" creationId="{FD74C6D8-9922-BA04-E64B-D231A1AE3870}"/>
          </ac:spMkLst>
        </pc:spChg>
        <pc:graphicFrameChg chg="add mod modVis replST">
          <ac:chgData name="Cimer Ádám" userId="8a923def-9a81-4ceb-8db9-424f2c16c007" providerId="ADAL" clId="{EBAB697D-D0C1-4C12-BAC8-A0BA9B60B910}" dt="2023-03-07T21:34:17.982" v="351"/>
          <ac:graphicFrameMkLst>
            <pc:docMk/>
            <pc:sldMk cId="2637189114" sldId="262"/>
            <ac:graphicFrameMk id="4" creationId="{22676221-1D90-09DE-6320-65E0B6DE73F8}"/>
          </ac:graphicFrameMkLst>
        </pc:graphicFrameChg>
        <pc:picChg chg="add del mod">
          <ac:chgData name="Cimer Ádám" userId="8a923def-9a81-4ceb-8db9-424f2c16c007" providerId="ADAL" clId="{EBAB697D-D0C1-4C12-BAC8-A0BA9B60B910}" dt="2023-03-07T21:34:02.767" v="341" actId="478"/>
          <ac:picMkLst>
            <pc:docMk/>
            <pc:sldMk cId="2637189114" sldId="262"/>
            <ac:picMk id="5" creationId="{3F4F8F47-3AD5-9320-C99B-234A5F89C799}"/>
          </ac:picMkLst>
        </pc:picChg>
        <pc:picChg chg="add mod ord modCrop">
          <ac:chgData name="Cimer Ádám" userId="8a923def-9a81-4ceb-8db9-424f2c16c007" providerId="ADAL" clId="{EBAB697D-D0C1-4C12-BAC8-A0BA9B60B910}" dt="2023-03-07T21:34:40.106" v="355" actId="732"/>
          <ac:picMkLst>
            <pc:docMk/>
            <pc:sldMk cId="2637189114" sldId="262"/>
            <ac:picMk id="7" creationId="{07CCBCBF-934A-8C6E-6B13-64098942FCAB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3C03FE7-A5E6-1F2A-0A27-0452F628F2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0F86410B-1D66-DC5F-C05E-198482F013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F2F64F3-8A07-4527-AE0E-6210665B1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7D57AE3B-B9B7-D0F1-8989-B699C7D08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4A5ADEC-42A6-7C21-FE3C-C29BD656E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34233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F2CF7EE-706F-89F9-4CDF-25652D324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030668F6-4FC8-22FB-4833-440C0EB7CA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6DBAB874-9CAC-7C4B-EFEB-283C524CD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8B3AEDC-1B29-560A-AABE-811275998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46DE118-4468-7FA4-C011-3B80707A0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90529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43A41CAB-4416-EBD8-A937-78B98FCAB5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1E2D7B71-42B0-05A8-E0F5-963D53F8EC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632EEFD7-253D-0156-C9BB-0CF959A4F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C268CE27-DEEC-39A0-0C27-01D38ECEE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69D2F5B-B04E-834C-2B85-CC04C3C55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48108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2B269E9-E1F9-3C16-08E3-9DDDABC75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B77E373-F29A-8CF3-14FD-E9E498FBA1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8D297618-0B00-1805-D6B5-F9A4CE256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341250A-9E21-AE5A-0337-25BCAE355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70B976EA-36B4-FE37-3A20-BA72109BA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73113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E397067-169B-67A7-5346-358F4F59D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82C649C1-00BB-2D30-EE0F-9F1DC09B3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C4365C7-A79C-478D-E5C4-F1FA1A108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1108D4F8-7109-1A79-50B2-48B5A0578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255DD8B-AEEB-FB22-09F3-FB3092BF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36056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4340C3D-E9DF-7A0E-D0D8-B97C33CE8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CC306F9F-19E6-3C9E-6EE7-C91BB30A0B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F6B374C8-8AD6-B1E4-2091-D9681369B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047FB029-4C3F-B892-5D07-F7730B6E8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41692650-E65A-D425-496C-DB6CF45CE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C6D9C866-BAE2-185F-4324-3A92859E5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198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2602261-DCF1-1FBA-A8F3-8F60D5302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5F40BD2E-5347-ABE0-9EC1-241C29F53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B171D785-569D-48DA-7260-27AF95EA61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996BCF18-8C0C-5B5D-944A-CA1E90FE03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F158BD18-A1F1-FD37-792E-438165CD05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C2C8CC48-3041-83DD-0F11-58B90CE40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E5D11F25-84E5-3D42-B48A-E699D8C28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E9A68B96-4CD3-E5E0-F8F6-CC2931132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34442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33956CA-A041-A1CD-9A2E-138A53E58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B80A2776-35CE-4A9E-5329-A2209F4F3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A46CE778-BBBC-354E-EB08-60B0CCC57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6764E04C-6121-A31D-0708-B4AFBA72D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76146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7D9CA23A-8B65-775D-AB82-841667629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38644EA9-C6B4-2300-AF56-CC1E84CD5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39E0B0E-8401-3AD3-661B-D35C5547D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26460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0FFE3A5-FDB2-F27D-E075-93A4FE8D6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AF335AE-8E1C-E705-0DA9-3A707A4479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AAEA0635-2648-E70A-1EE2-E85397FE6C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2C30C4D5-A435-0ECD-67C8-E4BB61DB2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438ACE77-98BF-CA4B-8607-76CB5E998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262BDCC5-4E28-84A7-7C6A-3672CBBC0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26212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2E6EC86-B709-845C-9A69-6195310D5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5D20B09C-B3DE-1F79-2884-61C05B1EA2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4B6DA8E4-631A-3854-6AF3-8AAF6D6227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5847476-5686-6E2C-759F-4A9D7FB66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CCE9F0EF-5931-AE2E-0753-1B33E00DF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1786E7CE-38CE-90CC-C8DA-6A635706A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28511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D157C738-E0C2-95BB-792F-5FE35F0A5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9407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D157C738-E0C2-95BB-792F-5FE35F0A5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14BDD2A8-917C-F288-53AA-27B50A5C0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B89C3111-F2A9-5707-ABD5-169F14EE5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8779BB9-F657-E2F8-5801-E84CC274B4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C4C690-6E29-4E87-9A1E-F9ACF2064A29}" type="datetimeFigureOut">
              <a:rPr lang="hu-HU" smtClean="0"/>
              <a:t>2023. 03. 07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11978A7-57EA-8B9E-EFA1-80BDC207C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17D3402-00C7-2F3F-689E-6AB33E6BAA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1F130-D340-4BB9-A642-79B3252CB14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8438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7.pn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DC034C8D-F4AA-4A8A-E97C-35A0ACBB64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34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DC034C8D-F4AA-4A8A-E97C-35A0ACBB6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ép 6">
            <a:extLst>
              <a:ext uri="{FF2B5EF4-FFF2-40B4-BE49-F238E27FC236}">
                <a16:creationId xmlns:a16="http://schemas.microsoft.com/office/drawing/2014/main" id="{5EF9027E-E3B7-8EFC-8F00-E2FCAEE7AF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9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10E5D051-4C1B-C4F5-B611-358FDD4D1C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775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10E5D051-4C1B-C4F5-B611-358FDD4D1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>
            <a:extLst>
              <a:ext uri="{FF2B5EF4-FFF2-40B4-BE49-F238E27FC236}">
                <a16:creationId xmlns:a16="http://schemas.microsoft.com/office/drawing/2014/main" id="{E0F4CA16-0D01-6A52-C0C2-6329ECD03D52}"/>
              </a:ext>
            </a:extLst>
          </p:cNvPr>
          <p:cNvSpPr/>
          <p:nvPr/>
        </p:nvSpPr>
        <p:spPr>
          <a:xfrm>
            <a:off x="-2382" y="0"/>
            <a:ext cx="1219438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2" name="Kép 21">
            <a:extLst>
              <a:ext uri="{FF2B5EF4-FFF2-40B4-BE49-F238E27FC236}">
                <a16:creationId xmlns:a16="http://schemas.microsoft.com/office/drawing/2014/main" id="{75E577B5-4343-40ED-DC16-503F839EEF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248" y="175595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3" name="Kép 32">
            <a:extLst>
              <a:ext uri="{FF2B5EF4-FFF2-40B4-BE49-F238E27FC236}">
                <a16:creationId xmlns:a16="http://schemas.microsoft.com/office/drawing/2014/main" id="{741CDB57-B9BF-C0AF-4D84-3E0FE0A997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500" y="175595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4" name="Kép 33">
            <a:extLst>
              <a:ext uri="{FF2B5EF4-FFF2-40B4-BE49-F238E27FC236}">
                <a16:creationId xmlns:a16="http://schemas.microsoft.com/office/drawing/2014/main" id="{739B6953-953C-94AF-191D-EC542651D0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16" y="2342161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5" name="Kép 34">
            <a:extLst>
              <a:ext uri="{FF2B5EF4-FFF2-40B4-BE49-F238E27FC236}">
                <a16:creationId xmlns:a16="http://schemas.microsoft.com/office/drawing/2014/main" id="{50457996-2882-5EBE-E067-2816D02AC6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2651" y="2342161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6" name="Kép 35">
            <a:extLst>
              <a:ext uri="{FF2B5EF4-FFF2-40B4-BE49-F238E27FC236}">
                <a16:creationId xmlns:a16="http://schemas.microsoft.com/office/drawing/2014/main" id="{C3523FD0-DEF5-538A-BD1A-109F21A98C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536" y="2342161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7" name="Kép 36">
            <a:extLst>
              <a:ext uri="{FF2B5EF4-FFF2-40B4-BE49-F238E27FC236}">
                <a16:creationId xmlns:a16="http://schemas.microsoft.com/office/drawing/2014/main" id="{A4AD251D-2118-3566-8257-57A420E5A5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536" y="2926593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8" name="Kép 37">
            <a:extLst>
              <a:ext uri="{FF2B5EF4-FFF2-40B4-BE49-F238E27FC236}">
                <a16:creationId xmlns:a16="http://schemas.microsoft.com/office/drawing/2014/main" id="{64E44335-3CB8-F26B-CB6F-7416ACB06B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724" y="2926593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39" name="Kép 38" descr="A képen szöveg látható&#10;&#10;Automatikusan generált leírás">
            <a:extLst>
              <a:ext uri="{FF2B5EF4-FFF2-40B4-BE49-F238E27FC236}">
                <a16:creationId xmlns:a16="http://schemas.microsoft.com/office/drawing/2014/main" id="{08027919-0A7B-B025-22A8-725F30AEEE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884" y="175595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40" name="Kép 39">
            <a:extLst>
              <a:ext uri="{FF2B5EF4-FFF2-40B4-BE49-F238E27FC236}">
                <a16:creationId xmlns:a16="http://schemas.microsoft.com/office/drawing/2014/main" id="{FD1B882B-00E4-A0A1-C19A-BDC1A9B7172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16" y="175595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41" name="Kép 40">
            <a:extLst>
              <a:ext uri="{FF2B5EF4-FFF2-40B4-BE49-F238E27FC236}">
                <a16:creationId xmlns:a16="http://schemas.microsoft.com/office/drawing/2014/main" id="{93C2C294-4BE1-1C4B-591A-F81A9283C6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911" y="2926593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44" name="Kép 43">
            <a:extLst>
              <a:ext uri="{FF2B5EF4-FFF2-40B4-BE49-F238E27FC236}">
                <a16:creationId xmlns:a16="http://schemas.microsoft.com/office/drawing/2014/main" id="{5928E039-1BA1-E143-661F-14E7C809BA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0" y="292836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47" name="Kép 46">
            <a:extLst>
              <a:ext uri="{FF2B5EF4-FFF2-40B4-BE49-F238E27FC236}">
                <a16:creationId xmlns:a16="http://schemas.microsoft.com/office/drawing/2014/main" id="{1EB6F376-6D06-0C4D-8DFD-3E998ECCB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250" y="3512798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49" name="Kép 48" descr="A képen szöveg látható&#10;&#10;Automatikusan generált leírás">
            <a:extLst>
              <a:ext uri="{FF2B5EF4-FFF2-40B4-BE49-F238E27FC236}">
                <a16:creationId xmlns:a16="http://schemas.microsoft.com/office/drawing/2014/main" id="{3C8169E9-4F1E-BDDE-930F-BA971EE50A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4598" y="2342161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3" name="Kép 52">
            <a:extLst>
              <a:ext uri="{FF2B5EF4-FFF2-40B4-BE49-F238E27FC236}">
                <a16:creationId xmlns:a16="http://schemas.microsoft.com/office/drawing/2014/main" id="{38CCA576-4985-F75E-469F-1524858950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16" y="292614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4" name="Kép 53">
            <a:extLst>
              <a:ext uri="{FF2B5EF4-FFF2-40B4-BE49-F238E27FC236}">
                <a16:creationId xmlns:a16="http://schemas.microsoft.com/office/drawing/2014/main" id="{DCBCD931-9AB1-DBA6-0C6D-348CDA3EC4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932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5" name="Kép 54">
            <a:extLst>
              <a:ext uri="{FF2B5EF4-FFF2-40B4-BE49-F238E27FC236}">
                <a16:creationId xmlns:a16="http://schemas.microsoft.com/office/drawing/2014/main" id="{01A31FD3-C23D-307E-8DD4-AF2E1AC48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6367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6" name="Kép 55">
            <a:extLst>
              <a:ext uri="{FF2B5EF4-FFF2-40B4-BE49-F238E27FC236}">
                <a16:creationId xmlns:a16="http://schemas.microsoft.com/office/drawing/2014/main" id="{97E82236-3AD9-B8D0-76C3-9931B74C31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252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7" name="Kép 56">
            <a:extLst>
              <a:ext uri="{FF2B5EF4-FFF2-40B4-BE49-F238E27FC236}">
                <a16:creationId xmlns:a16="http://schemas.microsoft.com/office/drawing/2014/main" id="{DC38EC7E-3ED5-FF96-A436-CBF71AA31E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252" y="4096784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8" name="Kép 57">
            <a:extLst>
              <a:ext uri="{FF2B5EF4-FFF2-40B4-BE49-F238E27FC236}">
                <a16:creationId xmlns:a16="http://schemas.microsoft.com/office/drawing/2014/main" id="{8186AC26-19FE-0CD6-D9AE-8A12395FC2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440" y="4096784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59" name="Kép 58" descr="A képen szöveg látható&#10;&#10;Automatikusan generált leírás">
            <a:extLst>
              <a:ext uri="{FF2B5EF4-FFF2-40B4-BE49-F238E27FC236}">
                <a16:creationId xmlns:a16="http://schemas.microsoft.com/office/drawing/2014/main" id="{60D85684-84E2-8355-0309-19D5A1A39AE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600" y="292614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0" name="Kép 59">
            <a:extLst>
              <a:ext uri="{FF2B5EF4-FFF2-40B4-BE49-F238E27FC236}">
                <a16:creationId xmlns:a16="http://schemas.microsoft.com/office/drawing/2014/main" id="{377EC07B-3F83-00B1-53A4-418D21E66B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932" y="292614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1" name="Kép 60">
            <a:extLst>
              <a:ext uri="{FF2B5EF4-FFF2-40B4-BE49-F238E27FC236}">
                <a16:creationId xmlns:a16="http://schemas.microsoft.com/office/drawing/2014/main" id="{C866865C-B933-D34E-F6FA-C53DAC3165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627" y="4096784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3" name="Kép 62">
            <a:extLst>
              <a:ext uri="{FF2B5EF4-FFF2-40B4-BE49-F238E27FC236}">
                <a16:creationId xmlns:a16="http://schemas.microsoft.com/office/drawing/2014/main" id="{DCFD1359-5D77-D9FD-25D9-82B3D103E5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045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4" name="Kép 63">
            <a:extLst>
              <a:ext uri="{FF2B5EF4-FFF2-40B4-BE49-F238E27FC236}">
                <a16:creationId xmlns:a16="http://schemas.microsoft.com/office/drawing/2014/main" id="{FA491B9F-F8FE-248D-4A3D-FA2258C21A6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761" y="409855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5" name="Kép 64">
            <a:extLst>
              <a:ext uri="{FF2B5EF4-FFF2-40B4-BE49-F238E27FC236}">
                <a16:creationId xmlns:a16="http://schemas.microsoft.com/office/drawing/2014/main" id="{E9D56F91-4EB1-331D-9398-D5E311B7C2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196" y="409855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6" name="Kép 65">
            <a:extLst>
              <a:ext uri="{FF2B5EF4-FFF2-40B4-BE49-F238E27FC236}">
                <a16:creationId xmlns:a16="http://schemas.microsoft.com/office/drawing/2014/main" id="{9F8DEA91-A371-EFCE-7044-AFA4B08DDE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081" y="4098557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69" name="Kép 68" descr="A képen szöveg látható&#10;&#10;Automatikusan generált leírás">
            <a:extLst>
              <a:ext uri="{FF2B5EF4-FFF2-40B4-BE49-F238E27FC236}">
                <a16:creationId xmlns:a16="http://schemas.microsoft.com/office/drawing/2014/main" id="{80A3ACAF-675D-2D42-76FF-D16DCDC2DF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429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70" name="Kép 69">
            <a:extLst>
              <a:ext uri="{FF2B5EF4-FFF2-40B4-BE49-F238E27FC236}">
                <a16:creationId xmlns:a16="http://schemas.microsoft.com/office/drawing/2014/main" id="{59D8BD91-ADD8-8B14-BE96-5B5DC84536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761" y="3512352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85" name="Kép 84">
            <a:extLst>
              <a:ext uri="{FF2B5EF4-FFF2-40B4-BE49-F238E27FC236}">
                <a16:creationId xmlns:a16="http://schemas.microsoft.com/office/drawing/2014/main" id="{908FABCB-6DC7-BEB8-A824-D34262C6CE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841" y="175639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86" name="Kép 85">
            <a:extLst>
              <a:ext uri="{FF2B5EF4-FFF2-40B4-BE49-F238E27FC236}">
                <a16:creationId xmlns:a16="http://schemas.microsoft.com/office/drawing/2014/main" id="{A9175375-F48E-F71C-C1B5-D055BF5D57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726" y="1756396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87" name="Kép 86">
            <a:extLst>
              <a:ext uri="{FF2B5EF4-FFF2-40B4-BE49-F238E27FC236}">
                <a16:creationId xmlns:a16="http://schemas.microsoft.com/office/drawing/2014/main" id="{3C739360-EB89-79CD-632B-89D964D2E8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726" y="2340828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88" name="Kép 87">
            <a:extLst>
              <a:ext uri="{FF2B5EF4-FFF2-40B4-BE49-F238E27FC236}">
                <a16:creationId xmlns:a16="http://schemas.microsoft.com/office/drawing/2014/main" id="{369FDA22-7924-8369-EDA8-16EC5EA4EDF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914" y="2340828"/>
            <a:ext cx="982013" cy="982013"/>
          </a:xfrm>
          <a:prstGeom prst="rect">
            <a:avLst/>
          </a:prstGeom>
          <a:ln>
            <a:noFill/>
          </a:ln>
        </p:spPr>
      </p:pic>
      <p:pic>
        <p:nvPicPr>
          <p:cNvPr id="91" name="Kép 90">
            <a:extLst>
              <a:ext uri="{FF2B5EF4-FFF2-40B4-BE49-F238E27FC236}">
                <a16:creationId xmlns:a16="http://schemas.microsoft.com/office/drawing/2014/main" id="{F1A19940-6388-AF8E-7DD1-9F5AD9C0CD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101" y="2340828"/>
            <a:ext cx="982013" cy="98201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3162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>
            <a:extLst>
              <a:ext uri="{FF2B5EF4-FFF2-40B4-BE49-F238E27FC236}">
                <a16:creationId xmlns:a16="http://schemas.microsoft.com/office/drawing/2014/main" id="{C57E5907-3A1C-D28E-6673-1100B7F5D6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107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um 5" hidden="1">
                        <a:extLst>
                          <a:ext uri="{FF2B5EF4-FFF2-40B4-BE49-F238E27FC236}">
                            <a16:creationId xmlns:a16="http://schemas.microsoft.com/office/drawing/2014/main" id="{C57E5907-3A1C-D28E-6673-1100B7F5D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ép 4">
            <a:extLst>
              <a:ext uri="{FF2B5EF4-FFF2-40B4-BE49-F238E27FC236}">
                <a16:creationId xmlns:a16="http://schemas.microsoft.com/office/drawing/2014/main" id="{1BB06E00-D145-8AB5-96E8-F5ACFD27FE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00" y="0"/>
            <a:ext cx="10287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091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um 36" hidden="1">
            <a:extLst>
              <a:ext uri="{FF2B5EF4-FFF2-40B4-BE49-F238E27FC236}">
                <a16:creationId xmlns:a16="http://schemas.microsoft.com/office/drawing/2014/main" id="{6FFA58A1-BCCF-7E6D-7046-C74579AC1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7" name="Objektum 36" hidden="1">
                        <a:extLst>
                          <a:ext uri="{FF2B5EF4-FFF2-40B4-BE49-F238E27FC236}">
                            <a16:creationId xmlns:a16="http://schemas.microsoft.com/office/drawing/2014/main" id="{6FFA58A1-BCCF-7E6D-7046-C74579AC1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ép 4">
            <a:extLst>
              <a:ext uri="{FF2B5EF4-FFF2-40B4-BE49-F238E27FC236}">
                <a16:creationId xmlns:a16="http://schemas.microsoft.com/office/drawing/2014/main" id="{8FFD6A86-C041-936F-8337-DDBECB6E59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043" y="1754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E15A1A90-6158-BDC1-F8DC-242F60C0B5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1670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E09ABDB1-AEE2-B5A6-282A-9644FCC0C0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1670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9A109133-F061-94AD-AA4E-D5963D3088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5769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ECD7F184-481D-6E46-0FE9-F76455CC7A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82" y="25769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" name="Kép 10" descr="A képen szöveg látható&#10;&#10;Automatikusan generált leírás">
            <a:extLst>
              <a:ext uri="{FF2B5EF4-FFF2-40B4-BE49-F238E27FC236}">
                <a16:creationId xmlns:a16="http://schemas.microsoft.com/office/drawing/2014/main" id="{30A3692C-866F-6318-BC6E-E475161FF7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17" y="17559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0FA0CAB7-F7B8-13A9-3FC4-2FDC207206D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17559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7" name="Kép 16">
            <a:extLst>
              <a:ext uri="{FF2B5EF4-FFF2-40B4-BE49-F238E27FC236}">
                <a16:creationId xmlns:a16="http://schemas.microsoft.com/office/drawing/2014/main" id="{C2C8B607-691D-FF85-7C59-664BCD713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0998A20F-266E-57DD-D746-976DAC180E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9877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9" name="Kép 18">
            <a:extLst>
              <a:ext uri="{FF2B5EF4-FFF2-40B4-BE49-F238E27FC236}">
                <a16:creationId xmlns:a16="http://schemas.microsoft.com/office/drawing/2014/main" id="{3071E3C9-28D9-B8E8-8E1A-52F6990819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204" y="29877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0" name="Kép 19">
            <a:extLst>
              <a:ext uri="{FF2B5EF4-FFF2-40B4-BE49-F238E27FC236}">
                <a16:creationId xmlns:a16="http://schemas.microsoft.com/office/drawing/2014/main" id="{BBAD4FCF-EA9B-C010-B728-58FE9AC1A8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29877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" name="Kép 20">
            <a:extLst>
              <a:ext uri="{FF2B5EF4-FFF2-40B4-BE49-F238E27FC236}">
                <a16:creationId xmlns:a16="http://schemas.microsoft.com/office/drawing/2014/main" id="{3A806718-6679-E9D1-AB52-05657DE582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33976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0240CCE7-1EFE-1B65-84A6-37FC3FCAAC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53" y="33976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" name="Kép 22" descr="A képen szöveg látható&#10;&#10;Automatikusan generált leírás">
            <a:extLst>
              <a:ext uri="{FF2B5EF4-FFF2-40B4-BE49-F238E27FC236}">
                <a16:creationId xmlns:a16="http://schemas.microsoft.com/office/drawing/2014/main" id="{5F9462AF-2DED-67E1-9D89-61B626D465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688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" name="Kép 23">
            <a:extLst>
              <a:ext uri="{FF2B5EF4-FFF2-40B4-BE49-F238E27FC236}">
                <a16:creationId xmlns:a16="http://schemas.microsoft.com/office/drawing/2014/main" id="{128F5E3F-D746-DA07-F730-26AE8AA2DB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" name="Kép 24">
            <a:extLst>
              <a:ext uri="{FF2B5EF4-FFF2-40B4-BE49-F238E27FC236}">
                <a16:creationId xmlns:a16="http://schemas.microsoft.com/office/drawing/2014/main" id="{2593EA18-AB24-B488-43BE-6CBBB32F8C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310" y="33976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" name="Kép 26">
            <a:extLst>
              <a:ext uri="{FF2B5EF4-FFF2-40B4-BE49-F238E27FC236}">
                <a16:creationId xmlns:a16="http://schemas.microsoft.com/office/drawing/2014/main" id="{6D11EB03-7835-C4D0-472D-08EC336F3D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33988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" name="Kép 28">
            <a:extLst>
              <a:ext uri="{FF2B5EF4-FFF2-40B4-BE49-F238E27FC236}">
                <a16:creationId xmlns:a16="http://schemas.microsoft.com/office/drawing/2014/main" id="{0568A93B-4573-E971-77A5-C38C8556B3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488" y="33988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" name="Kép 29" descr="A képen szöveg látható&#10;&#10;Automatikusan generált leírás">
            <a:extLst>
              <a:ext uri="{FF2B5EF4-FFF2-40B4-BE49-F238E27FC236}">
                <a16:creationId xmlns:a16="http://schemas.microsoft.com/office/drawing/2014/main" id="{CF02222C-F1AC-14E6-50FF-558864630A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781" y="29877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" name="Kép 30">
            <a:extLst>
              <a:ext uri="{FF2B5EF4-FFF2-40B4-BE49-F238E27FC236}">
                <a16:creationId xmlns:a16="http://schemas.microsoft.com/office/drawing/2014/main" id="{20CDD7A3-E99F-BBDE-9B86-C38241B4141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29877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" name="Kép 31">
            <a:extLst>
              <a:ext uri="{FF2B5EF4-FFF2-40B4-BE49-F238E27FC236}">
                <a16:creationId xmlns:a16="http://schemas.microsoft.com/office/drawing/2014/main" id="{729ACAEE-FA72-2158-2439-1ACFC97F88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156" y="175626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" name="Kép 32">
            <a:extLst>
              <a:ext uri="{FF2B5EF4-FFF2-40B4-BE49-F238E27FC236}">
                <a16:creationId xmlns:a16="http://schemas.microsoft.com/office/drawing/2014/main" id="{1103AA41-91DE-1DA8-CB91-66C59FA9A8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175626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" name="Kép 33">
            <a:extLst>
              <a:ext uri="{FF2B5EF4-FFF2-40B4-BE49-F238E27FC236}">
                <a16:creationId xmlns:a16="http://schemas.microsoft.com/office/drawing/2014/main" id="{E5B1D885-9D48-7060-E55A-E8AE73DC40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21661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" name="Kép 34">
            <a:extLst>
              <a:ext uri="{FF2B5EF4-FFF2-40B4-BE49-F238E27FC236}">
                <a16:creationId xmlns:a16="http://schemas.microsoft.com/office/drawing/2014/main" id="{D12D62FB-6A50-2159-DB4C-68C029E055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805" y="21661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" name="Kép 35">
            <a:extLst>
              <a:ext uri="{FF2B5EF4-FFF2-40B4-BE49-F238E27FC236}">
                <a16:creationId xmlns:a16="http://schemas.microsoft.com/office/drawing/2014/main" id="{0857089E-ECFE-6992-4B6E-9B41B54580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262" y="21661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07" name="Kép 206">
            <a:extLst>
              <a:ext uri="{FF2B5EF4-FFF2-40B4-BE49-F238E27FC236}">
                <a16:creationId xmlns:a16="http://schemas.microsoft.com/office/drawing/2014/main" id="{6AB090D6-7B08-8D0A-ABBE-3050E7B9B6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175626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09" name="Kép 208">
            <a:extLst>
              <a:ext uri="{FF2B5EF4-FFF2-40B4-BE49-F238E27FC236}">
                <a16:creationId xmlns:a16="http://schemas.microsoft.com/office/drawing/2014/main" id="{BB7C8193-CD45-AB6A-05EC-A36E152C20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175626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0" name="Kép 209">
            <a:extLst>
              <a:ext uri="{FF2B5EF4-FFF2-40B4-BE49-F238E27FC236}">
                <a16:creationId xmlns:a16="http://schemas.microsoft.com/office/drawing/2014/main" id="{83383AD6-A60E-F90C-DC9B-DD98C72A69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21661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1" name="Kép 210">
            <a:extLst>
              <a:ext uri="{FF2B5EF4-FFF2-40B4-BE49-F238E27FC236}">
                <a16:creationId xmlns:a16="http://schemas.microsoft.com/office/drawing/2014/main" id="{4955E441-C5EE-0450-BADE-4009B9BD7D0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539" y="21661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8" name="Kép 217">
            <a:extLst>
              <a:ext uri="{FF2B5EF4-FFF2-40B4-BE49-F238E27FC236}">
                <a16:creationId xmlns:a16="http://schemas.microsoft.com/office/drawing/2014/main" id="{4B787C87-9CE3-AAF4-1AA3-D7BDD108F5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21658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19" name="Kép 218">
            <a:extLst>
              <a:ext uri="{FF2B5EF4-FFF2-40B4-BE49-F238E27FC236}">
                <a16:creationId xmlns:a16="http://schemas.microsoft.com/office/drawing/2014/main" id="{389B57DA-6C0C-8CAA-BB1F-76217E7147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5769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0" name="Kép 219">
            <a:extLst>
              <a:ext uri="{FF2B5EF4-FFF2-40B4-BE49-F238E27FC236}">
                <a16:creationId xmlns:a16="http://schemas.microsoft.com/office/drawing/2014/main" id="{4C416D35-DBE4-3D59-0B45-8264BF6E975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261" y="25769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1" name="Kép 220">
            <a:extLst>
              <a:ext uri="{FF2B5EF4-FFF2-40B4-BE49-F238E27FC236}">
                <a16:creationId xmlns:a16="http://schemas.microsoft.com/office/drawing/2014/main" id="{2F2FC422-ED28-CFD7-9C38-90BEDDB9CF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5769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2" name="Kép 221">
            <a:extLst>
              <a:ext uri="{FF2B5EF4-FFF2-40B4-BE49-F238E27FC236}">
                <a16:creationId xmlns:a16="http://schemas.microsoft.com/office/drawing/2014/main" id="{582F3E30-C6D4-072A-F7D2-3AEC7FF75C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9868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3" name="Kép 222">
            <a:extLst>
              <a:ext uri="{FF2B5EF4-FFF2-40B4-BE49-F238E27FC236}">
                <a16:creationId xmlns:a16="http://schemas.microsoft.com/office/drawing/2014/main" id="{67304B64-DB9B-3098-F084-B967B7C58A8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910" y="29868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4" name="Kép 223" descr="A képen szöveg látható&#10;&#10;Automatikusan generált leírás">
            <a:extLst>
              <a:ext uri="{FF2B5EF4-FFF2-40B4-BE49-F238E27FC236}">
                <a16:creationId xmlns:a16="http://schemas.microsoft.com/office/drawing/2014/main" id="{9AAD8973-C723-E9C0-CE7E-FE48D09886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4745" y="21658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5" name="Kép 224">
            <a:extLst>
              <a:ext uri="{FF2B5EF4-FFF2-40B4-BE49-F238E27FC236}">
                <a16:creationId xmlns:a16="http://schemas.microsoft.com/office/drawing/2014/main" id="{A4179C61-EFA1-4251-CED0-306053285D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1658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6" name="Kép 225">
            <a:extLst>
              <a:ext uri="{FF2B5EF4-FFF2-40B4-BE49-F238E27FC236}">
                <a16:creationId xmlns:a16="http://schemas.microsoft.com/office/drawing/2014/main" id="{9ABF25AD-CFFF-75EC-6BBC-BB1A7FC921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367" y="29868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28" name="Kép 227">
            <a:extLst>
              <a:ext uri="{FF2B5EF4-FFF2-40B4-BE49-F238E27FC236}">
                <a16:creationId xmlns:a16="http://schemas.microsoft.com/office/drawing/2014/main" id="{D202719B-FFBD-731F-1AAF-91C0A01C49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9880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0" name="Kép 229">
            <a:extLst>
              <a:ext uri="{FF2B5EF4-FFF2-40B4-BE49-F238E27FC236}">
                <a16:creationId xmlns:a16="http://schemas.microsoft.com/office/drawing/2014/main" id="{0ED6BF72-5F7E-762E-4AF1-6D1EAD010B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545" y="29880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1" name="Kép 230" descr="A képen szöveg látható&#10;&#10;Automatikusan generált leírás">
            <a:extLst>
              <a:ext uri="{FF2B5EF4-FFF2-40B4-BE49-F238E27FC236}">
                <a16:creationId xmlns:a16="http://schemas.microsoft.com/office/drawing/2014/main" id="{FA376037-FF2F-5724-7B15-9AC6913A35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38" y="25769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2" name="Kép 231">
            <a:extLst>
              <a:ext uri="{FF2B5EF4-FFF2-40B4-BE49-F238E27FC236}">
                <a16:creationId xmlns:a16="http://schemas.microsoft.com/office/drawing/2014/main" id="{C9859555-4A8C-80EC-86BF-39FA210FAB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5769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5" name="Kép 234">
            <a:extLst>
              <a:ext uri="{FF2B5EF4-FFF2-40B4-BE49-F238E27FC236}">
                <a16:creationId xmlns:a16="http://schemas.microsoft.com/office/drawing/2014/main" id="{8F783F51-CF1B-802F-63DA-EBB78E061A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404" y="175533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6" name="Kép 235">
            <a:extLst>
              <a:ext uri="{FF2B5EF4-FFF2-40B4-BE49-F238E27FC236}">
                <a16:creationId xmlns:a16="http://schemas.microsoft.com/office/drawing/2014/main" id="{36EA1793-ED02-B3C7-D465-3F38F97035B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862" y="175533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7" name="Kép 236">
            <a:extLst>
              <a:ext uri="{FF2B5EF4-FFF2-40B4-BE49-F238E27FC236}">
                <a16:creationId xmlns:a16="http://schemas.microsoft.com/office/drawing/2014/main" id="{2A0690AA-AD54-C4A0-F112-0D255A84C7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319" y="175533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8" name="Kép 237">
            <a:extLst>
              <a:ext uri="{FF2B5EF4-FFF2-40B4-BE49-F238E27FC236}">
                <a16:creationId xmlns:a16="http://schemas.microsoft.com/office/drawing/2014/main" id="{5C8BA967-0CFA-E3D8-1DCD-2BFC637E31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8081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39" name="Kép 238">
            <a:extLst>
              <a:ext uri="{FF2B5EF4-FFF2-40B4-BE49-F238E27FC236}">
                <a16:creationId xmlns:a16="http://schemas.microsoft.com/office/drawing/2014/main" id="{3942DDD6-5DF8-E975-FA61-A72302375A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38081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0" name="Kép 239">
            <a:extLst>
              <a:ext uri="{FF2B5EF4-FFF2-40B4-BE49-F238E27FC236}">
                <a16:creationId xmlns:a16="http://schemas.microsoft.com/office/drawing/2014/main" id="{A570C870-7504-1D9E-81C5-0558AFDF06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42179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1" name="Kép 240">
            <a:extLst>
              <a:ext uri="{FF2B5EF4-FFF2-40B4-BE49-F238E27FC236}">
                <a16:creationId xmlns:a16="http://schemas.microsoft.com/office/drawing/2014/main" id="{F2AA7F57-A1DB-5A28-C019-995D688033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19" y="42179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2" name="Kép 241" descr="A képen szöveg látható&#10;&#10;Automatikusan generált leírás">
            <a:extLst>
              <a:ext uri="{FF2B5EF4-FFF2-40B4-BE49-F238E27FC236}">
                <a16:creationId xmlns:a16="http://schemas.microsoft.com/office/drawing/2014/main" id="{BE3FC024-38BE-96D0-2B6E-553EB9CFD7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054" y="33970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3" name="Kép 242">
            <a:extLst>
              <a:ext uri="{FF2B5EF4-FFF2-40B4-BE49-F238E27FC236}">
                <a16:creationId xmlns:a16="http://schemas.microsoft.com/office/drawing/2014/main" id="{ADF28304-B805-D0AF-19EC-79A6BD50AF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3970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4" name="Kép 243">
            <a:extLst>
              <a:ext uri="{FF2B5EF4-FFF2-40B4-BE49-F238E27FC236}">
                <a16:creationId xmlns:a16="http://schemas.microsoft.com/office/drawing/2014/main" id="{BDB1B7C2-573C-CE8F-34C3-020BF1CD83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42176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5" name="Kép 244">
            <a:extLst>
              <a:ext uri="{FF2B5EF4-FFF2-40B4-BE49-F238E27FC236}">
                <a16:creationId xmlns:a16="http://schemas.microsoft.com/office/drawing/2014/main" id="{2F34EE4C-3A4F-D636-A667-DB786EEAA6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6287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6" name="Kép 245">
            <a:extLst>
              <a:ext uri="{FF2B5EF4-FFF2-40B4-BE49-F238E27FC236}">
                <a16:creationId xmlns:a16="http://schemas.microsoft.com/office/drawing/2014/main" id="{F5AAA1EE-93E2-FEDB-7562-F01420DB3C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941" y="46287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7" name="Kép 246">
            <a:extLst>
              <a:ext uri="{FF2B5EF4-FFF2-40B4-BE49-F238E27FC236}">
                <a16:creationId xmlns:a16="http://schemas.microsoft.com/office/drawing/2014/main" id="{1AE2EC22-7520-D7B3-2B65-FAD51A2F1C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46287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8" name="Kép 247">
            <a:extLst>
              <a:ext uri="{FF2B5EF4-FFF2-40B4-BE49-F238E27FC236}">
                <a16:creationId xmlns:a16="http://schemas.microsoft.com/office/drawing/2014/main" id="{344D2FBF-E604-B5FA-E006-320B67A80B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50386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49" name="Kép 248">
            <a:extLst>
              <a:ext uri="{FF2B5EF4-FFF2-40B4-BE49-F238E27FC236}">
                <a16:creationId xmlns:a16="http://schemas.microsoft.com/office/drawing/2014/main" id="{DF495F77-8579-7DF3-E9C0-76A309BA6A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590" y="50386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0" name="Kép 249" descr="A képen szöveg látható&#10;&#10;Automatikusan generált leírás">
            <a:extLst>
              <a:ext uri="{FF2B5EF4-FFF2-40B4-BE49-F238E27FC236}">
                <a16:creationId xmlns:a16="http://schemas.microsoft.com/office/drawing/2014/main" id="{2C69B369-45F7-C49E-B68B-9E0E3E837E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5425" y="42176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1" name="Kép 250">
            <a:extLst>
              <a:ext uri="{FF2B5EF4-FFF2-40B4-BE49-F238E27FC236}">
                <a16:creationId xmlns:a16="http://schemas.microsoft.com/office/drawing/2014/main" id="{0AC8871C-6FA8-35AD-D0B0-084DAFBEDFC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2176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2" name="Kép 251">
            <a:extLst>
              <a:ext uri="{FF2B5EF4-FFF2-40B4-BE49-F238E27FC236}">
                <a16:creationId xmlns:a16="http://schemas.microsoft.com/office/drawing/2014/main" id="{2B6C8AED-C87C-1A6A-D129-D8F5D93E29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047" y="50386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3" name="Kép 252">
            <a:extLst>
              <a:ext uri="{FF2B5EF4-FFF2-40B4-BE49-F238E27FC236}">
                <a16:creationId xmlns:a16="http://schemas.microsoft.com/office/drawing/2014/main" id="{249F5477-486F-DE44-EC31-8200EBD1DB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50399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4" name="Kép 253">
            <a:extLst>
              <a:ext uri="{FF2B5EF4-FFF2-40B4-BE49-F238E27FC236}">
                <a16:creationId xmlns:a16="http://schemas.microsoft.com/office/drawing/2014/main" id="{C6F766AF-2290-D8D4-F767-0C7B9F183C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225" y="50399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5" name="Kép 254" descr="A képen szöveg látható&#10;&#10;Automatikusan generált leírás">
            <a:extLst>
              <a:ext uri="{FF2B5EF4-FFF2-40B4-BE49-F238E27FC236}">
                <a16:creationId xmlns:a16="http://schemas.microsoft.com/office/drawing/2014/main" id="{799ED372-A7A5-3160-1BDA-5E3EE53DA4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18" y="46287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6" name="Kép 255">
            <a:extLst>
              <a:ext uri="{FF2B5EF4-FFF2-40B4-BE49-F238E27FC236}">
                <a16:creationId xmlns:a16="http://schemas.microsoft.com/office/drawing/2014/main" id="{0555D20E-C0AE-C97B-2C56-5CD6BCA9397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46287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7" name="Kép 256">
            <a:extLst>
              <a:ext uri="{FF2B5EF4-FFF2-40B4-BE49-F238E27FC236}">
                <a16:creationId xmlns:a16="http://schemas.microsoft.com/office/drawing/2014/main" id="{515D9453-EAF5-4C66-9A35-D9A94577427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893" y="339731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8" name="Kép 257">
            <a:extLst>
              <a:ext uri="{FF2B5EF4-FFF2-40B4-BE49-F238E27FC236}">
                <a16:creationId xmlns:a16="http://schemas.microsoft.com/office/drawing/2014/main" id="{78EA9A13-DF6B-5440-9D3C-9ABF705991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39731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59" name="Kép 258">
            <a:extLst>
              <a:ext uri="{FF2B5EF4-FFF2-40B4-BE49-F238E27FC236}">
                <a16:creationId xmlns:a16="http://schemas.microsoft.com/office/drawing/2014/main" id="{1FD6E97E-2704-5F0B-C8FB-4DFE4A7008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8071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0" name="Kép 259">
            <a:extLst>
              <a:ext uri="{FF2B5EF4-FFF2-40B4-BE49-F238E27FC236}">
                <a16:creationId xmlns:a16="http://schemas.microsoft.com/office/drawing/2014/main" id="{06FBBC75-E309-AD1F-5202-EA75FE6489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542" y="38071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1" name="Kép 260">
            <a:extLst>
              <a:ext uri="{FF2B5EF4-FFF2-40B4-BE49-F238E27FC236}">
                <a16:creationId xmlns:a16="http://schemas.microsoft.com/office/drawing/2014/main" id="{2A5BEF6D-BBE9-D462-6C2B-7DA479CA14C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999" y="38071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2" name="Kép 261">
            <a:extLst>
              <a:ext uri="{FF2B5EF4-FFF2-40B4-BE49-F238E27FC236}">
                <a16:creationId xmlns:a16="http://schemas.microsoft.com/office/drawing/2014/main" id="{84D1FBB9-3FE4-32B9-9FA9-91AB980394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38059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3" name="Kép 262">
            <a:extLst>
              <a:ext uri="{FF2B5EF4-FFF2-40B4-BE49-F238E27FC236}">
                <a16:creationId xmlns:a16="http://schemas.microsoft.com/office/drawing/2014/main" id="{68813ED6-E5FF-0082-AE6C-FD92802E42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38059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4" name="Kép 263">
            <a:extLst>
              <a:ext uri="{FF2B5EF4-FFF2-40B4-BE49-F238E27FC236}">
                <a16:creationId xmlns:a16="http://schemas.microsoft.com/office/drawing/2014/main" id="{CE91F08F-015C-0500-D6EA-A9651FA0AC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42158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5" name="Kép 264">
            <a:extLst>
              <a:ext uri="{FF2B5EF4-FFF2-40B4-BE49-F238E27FC236}">
                <a16:creationId xmlns:a16="http://schemas.microsoft.com/office/drawing/2014/main" id="{96E25DB5-6345-FA7C-1DED-52FECF9219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50" y="42158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6" name="Kép 265">
            <a:extLst>
              <a:ext uri="{FF2B5EF4-FFF2-40B4-BE49-F238E27FC236}">
                <a16:creationId xmlns:a16="http://schemas.microsoft.com/office/drawing/2014/main" id="{8CAD772A-44EA-02A5-606A-D971F1C037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42155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7" name="Kép 266">
            <a:extLst>
              <a:ext uri="{FF2B5EF4-FFF2-40B4-BE49-F238E27FC236}">
                <a16:creationId xmlns:a16="http://schemas.microsoft.com/office/drawing/2014/main" id="{98C2DBAD-93D5-FE9A-8327-806EA4E3D8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626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8" name="Kép 267">
            <a:extLst>
              <a:ext uri="{FF2B5EF4-FFF2-40B4-BE49-F238E27FC236}">
                <a16:creationId xmlns:a16="http://schemas.microsoft.com/office/drawing/2014/main" id="{C7F85B73-1ADF-596D-7EB9-6F81B97C624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372" y="4626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69" name="Kép 268">
            <a:extLst>
              <a:ext uri="{FF2B5EF4-FFF2-40B4-BE49-F238E27FC236}">
                <a16:creationId xmlns:a16="http://schemas.microsoft.com/office/drawing/2014/main" id="{6B619B29-3642-4D73-9ED0-096E1B5C4B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4626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0" name="Kép 269">
            <a:extLst>
              <a:ext uri="{FF2B5EF4-FFF2-40B4-BE49-F238E27FC236}">
                <a16:creationId xmlns:a16="http://schemas.microsoft.com/office/drawing/2014/main" id="{1F4071EC-77B3-F35B-8DF9-88FE18DE71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50365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1" name="Kép 270">
            <a:extLst>
              <a:ext uri="{FF2B5EF4-FFF2-40B4-BE49-F238E27FC236}">
                <a16:creationId xmlns:a16="http://schemas.microsoft.com/office/drawing/2014/main" id="{0E33F243-EE6D-18FE-9F61-911441C61E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021" y="50365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2" name="Kép 271" descr="A képen szöveg látható&#10;&#10;Automatikusan generált leírás">
            <a:extLst>
              <a:ext uri="{FF2B5EF4-FFF2-40B4-BE49-F238E27FC236}">
                <a16:creationId xmlns:a16="http://schemas.microsoft.com/office/drawing/2014/main" id="{B6662724-3EEC-DB10-1583-B299A5F849E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856" y="42155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3" name="Kép 272">
            <a:extLst>
              <a:ext uri="{FF2B5EF4-FFF2-40B4-BE49-F238E27FC236}">
                <a16:creationId xmlns:a16="http://schemas.microsoft.com/office/drawing/2014/main" id="{00753733-B38D-F13E-C737-EB15D611D8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2155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4" name="Kép 273">
            <a:extLst>
              <a:ext uri="{FF2B5EF4-FFF2-40B4-BE49-F238E27FC236}">
                <a16:creationId xmlns:a16="http://schemas.microsoft.com/office/drawing/2014/main" id="{1E28E426-D14F-9FC1-08F8-499769DA88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478" y="50365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5" name="Kép 274">
            <a:extLst>
              <a:ext uri="{FF2B5EF4-FFF2-40B4-BE49-F238E27FC236}">
                <a16:creationId xmlns:a16="http://schemas.microsoft.com/office/drawing/2014/main" id="{161B9504-54BA-A496-6AFC-C0072BE1D4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50377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6" name="Kép 275">
            <a:extLst>
              <a:ext uri="{FF2B5EF4-FFF2-40B4-BE49-F238E27FC236}">
                <a16:creationId xmlns:a16="http://schemas.microsoft.com/office/drawing/2014/main" id="{241984F9-2005-350A-C41B-320316950F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656" y="50377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7" name="Kép 276" descr="A képen szöveg látható&#10;&#10;Automatikusan generált leírás">
            <a:extLst>
              <a:ext uri="{FF2B5EF4-FFF2-40B4-BE49-F238E27FC236}">
                <a16:creationId xmlns:a16="http://schemas.microsoft.com/office/drawing/2014/main" id="{4F4A9345-744B-206C-9EC3-BE088905D6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949" y="4626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8" name="Kép 277">
            <a:extLst>
              <a:ext uri="{FF2B5EF4-FFF2-40B4-BE49-F238E27FC236}">
                <a16:creationId xmlns:a16="http://schemas.microsoft.com/office/drawing/2014/main" id="{566AEA80-E237-D5C6-94A9-0F59A17E21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4626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79" name="Kép 278">
            <a:extLst>
              <a:ext uri="{FF2B5EF4-FFF2-40B4-BE49-F238E27FC236}">
                <a16:creationId xmlns:a16="http://schemas.microsoft.com/office/drawing/2014/main" id="{CF2EA989-42AD-3CFD-6093-D91CCEBB44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515" y="38050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0" name="Kép 279">
            <a:extLst>
              <a:ext uri="{FF2B5EF4-FFF2-40B4-BE49-F238E27FC236}">
                <a16:creationId xmlns:a16="http://schemas.microsoft.com/office/drawing/2014/main" id="{883BB911-B568-1AD1-C573-6FC696CFE2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973" y="38050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1" name="Kép 280">
            <a:extLst>
              <a:ext uri="{FF2B5EF4-FFF2-40B4-BE49-F238E27FC236}">
                <a16:creationId xmlns:a16="http://schemas.microsoft.com/office/drawing/2014/main" id="{CD3F1FB8-8FF0-E14D-552E-1FE621D2FA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430" y="38050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2" name="Kép 281">
            <a:extLst>
              <a:ext uri="{FF2B5EF4-FFF2-40B4-BE49-F238E27FC236}">
                <a16:creationId xmlns:a16="http://schemas.microsoft.com/office/drawing/2014/main" id="{A9EEE8C2-7EAA-C186-FCD0-654BD15216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768" y="33970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3" name="Kép 282">
            <a:extLst>
              <a:ext uri="{FF2B5EF4-FFF2-40B4-BE49-F238E27FC236}">
                <a16:creationId xmlns:a16="http://schemas.microsoft.com/office/drawing/2014/main" id="{1B2B2666-8E01-9556-CD86-32AFB13A7C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0654" y="5244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4" name="Kép 283">
            <a:extLst>
              <a:ext uri="{FF2B5EF4-FFF2-40B4-BE49-F238E27FC236}">
                <a16:creationId xmlns:a16="http://schemas.microsoft.com/office/drawing/2014/main" id="{D06A5D65-06E6-97F3-C186-177C2B3C07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93652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5" name="Kép 284">
            <a:extLst>
              <a:ext uri="{FF2B5EF4-FFF2-40B4-BE49-F238E27FC236}">
                <a16:creationId xmlns:a16="http://schemas.microsoft.com/office/drawing/2014/main" id="{1EC4D944-2479-AED2-D774-57B4A7DFB6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93652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6" name="Kép 285">
            <a:extLst>
              <a:ext uri="{FF2B5EF4-FFF2-40B4-BE49-F238E27FC236}">
                <a16:creationId xmlns:a16="http://schemas.microsoft.com/office/drawing/2014/main" id="{E3FF1502-1339-5922-D18E-99A646C97A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13463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7" name="Kép 286">
            <a:extLst>
              <a:ext uri="{FF2B5EF4-FFF2-40B4-BE49-F238E27FC236}">
                <a16:creationId xmlns:a16="http://schemas.microsoft.com/office/drawing/2014/main" id="{646C45D3-2C6A-1659-BB61-A63EE30928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093" y="13463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8" name="Kép 287" descr="A képen szöveg látható&#10;&#10;Automatikusan generált leírás">
            <a:extLst>
              <a:ext uri="{FF2B5EF4-FFF2-40B4-BE49-F238E27FC236}">
                <a16:creationId xmlns:a16="http://schemas.microsoft.com/office/drawing/2014/main" id="{0EBED5AC-3C55-9A60-3C37-2F8CD3794A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2928" y="52540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89" name="Kép 288">
            <a:extLst>
              <a:ext uri="{FF2B5EF4-FFF2-40B4-BE49-F238E27FC236}">
                <a16:creationId xmlns:a16="http://schemas.microsoft.com/office/drawing/2014/main" id="{292AB01D-5CCF-79F2-1BF8-C2783C9EF0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52540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0" name="Kép 289">
            <a:extLst>
              <a:ext uri="{FF2B5EF4-FFF2-40B4-BE49-F238E27FC236}">
                <a16:creationId xmlns:a16="http://schemas.microsoft.com/office/drawing/2014/main" id="{2694E164-DCB8-5973-7ABA-2BF6C9CC57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13460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1" name="Kép 290">
            <a:extLst>
              <a:ext uri="{FF2B5EF4-FFF2-40B4-BE49-F238E27FC236}">
                <a16:creationId xmlns:a16="http://schemas.microsoft.com/office/drawing/2014/main" id="{4213FA70-6C98-1306-A029-00844D60D6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8053" y="17571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2" name="Kép 291">
            <a:extLst>
              <a:ext uri="{FF2B5EF4-FFF2-40B4-BE49-F238E27FC236}">
                <a16:creationId xmlns:a16="http://schemas.microsoft.com/office/drawing/2014/main" id="{5423EC93-4607-E8F8-E5F2-30F73C1ED7D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15" y="17571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3" name="Kép 292">
            <a:extLst>
              <a:ext uri="{FF2B5EF4-FFF2-40B4-BE49-F238E27FC236}">
                <a16:creationId xmlns:a16="http://schemas.microsoft.com/office/drawing/2014/main" id="{FBABEFDE-E94A-4650-9DB7-FC8C2F355F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17571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4" name="Kép 293">
            <a:extLst>
              <a:ext uri="{FF2B5EF4-FFF2-40B4-BE49-F238E27FC236}">
                <a16:creationId xmlns:a16="http://schemas.microsoft.com/office/drawing/2014/main" id="{2EDD2DDD-6C26-60F8-5B60-A6C84151E9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21670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5" name="Kép 294">
            <a:extLst>
              <a:ext uri="{FF2B5EF4-FFF2-40B4-BE49-F238E27FC236}">
                <a16:creationId xmlns:a16="http://schemas.microsoft.com/office/drawing/2014/main" id="{AF3E2CA6-5E3A-AB1B-75C1-8216B46D14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464" y="21670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6" name="Kép 295" descr="A képen szöveg látható&#10;&#10;Automatikusan generált leírás">
            <a:extLst>
              <a:ext uri="{FF2B5EF4-FFF2-40B4-BE49-F238E27FC236}">
                <a16:creationId xmlns:a16="http://schemas.microsoft.com/office/drawing/2014/main" id="{982627A8-4DCA-8C6C-4DA0-D7EFD7B2D4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2299" y="13460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7" name="Kép 296">
            <a:extLst>
              <a:ext uri="{FF2B5EF4-FFF2-40B4-BE49-F238E27FC236}">
                <a16:creationId xmlns:a16="http://schemas.microsoft.com/office/drawing/2014/main" id="{2496EF74-286E-4629-1887-B8B852BEEF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8053" y="13460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8" name="Kép 297">
            <a:extLst>
              <a:ext uri="{FF2B5EF4-FFF2-40B4-BE49-F238E27FC236}">
                <a16:creationId xmlns:a16="http://schemas.microsoft.com/office/drawing/2014/main" id="{A7108731-0C43-4D2E-D61C-313F643C2A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921" y="21670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299" name="Kép 298">
            <a:extLst>
              <a:ext uri="{FF2B5EF4-FFF2-40B4-BE49-F238E27FC236}">
                <a16:creationId xmlns:a16="http://schemas.microsoft.com/office/drawing/2014/main" id="{E9BAFB6E-8CC4-C2EC-4220-FDFDD8E7CB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21683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0" name="Kép 299">
            <a:extLst>
              <a:ext uri="{FF2B5EF4-FFF2-40B4-BE49-F238E27FC236}">
                <a16:creationId xmlns:a16="http://schemas.microsoft.com/office/drawing/2014/main" id="{0BEF8B7B-C78A-39A6-3E5F-98A20A68F1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99" y="21683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1" name="Kép 300" descr="A képen szöveg látható&#10;&#10;Automatikusan generált leírás">
            <a:extLst>
              <a:ext uri="{FF2B5EF4-FFF2-40B4-BE49-F238E27FC236}">
                <a16:creationId xmlns:a16="http://schemas.microsoft.com/office/drawing/2014/main" id="{1CC1EC9F-BDBB-907B-F035-CBF43ADA67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392" y="17571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2" name="Kép 301">
            <a:extLst>
              <a:ext uri="{FF2B5EF4-FFF2-40B4-BE49-F238E27FC236}">
                <a16:creationId xmlns:a16="http://schemas.microsoft.com/office/drawing/2014/main" id="{D8F9FE0D-0743-49F6-AF8D-A71794EEF0B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17571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3" name="Kép 302">
            <a:extLst>
              <a:ext uri="{FF2B5EF4-FFF2-40B4-BE49-F238E27FC236}">
                <a16:creationId xmlns:a16="http://schemas.microsoft.com/office/drawing/2014/main" id="{FF6C40D9-02B0-5FE4-3C51-6A21C2AF3F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767" y="5257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4" name="Kép 303">
            <a:extLst>
              <a:ext uri="{FF2B5EF4-FFF2-40B4-BE49-F238E27FC236}">
                <a16:creationId xmlns:a16="http://schemas.microsoft.com/office/drawing/2014/main" id="{C100E459-A22C-78A6-994F-2E32EFE12E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958" y="5257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5" name="Kép 304">
            <a:extLst>
              <a:ext uri="{FF2B5EF4-FFF2-40B4-BE49-F238E27FC236}">
                <a16:creationId xmlns:a16="http://schemas.microsoft.com/office/drawing/2014/main" id="{757E6FDF-FC48-3170-2C15-9C73A71EC8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958" y="9355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6" name="Kép 305">
            <a:extLst>
              <a:ext uri="{FF2B5EF4-FFF2-40B4-BE49-F238E27FC236}">
                <a16:creationId xmlns:a16="http://schemas.microsoft.com/office/drawing/2014/main" id="{88A0A6AF-A157-84D0-1796-6B66CCDFC7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0416" y="9355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7" name="Kép 306">
            <a:extLst>
              <a:ext uri="{FF2B5EF4-FFF2-40B4-BE49-F238E27FC236}">
                <a16:creationId xmlns:a16="http://schemas.microsoft.com/office/drawing/2014/main" id="{D7C71FD1-3F28-AD40-247D-ACA8BE7A42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8873" y="9355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8" name="Kép 307">
            <a:extLst>
              <a:ext uri="{FF2B5EF4-FFF2-40B4-BE49-F238E27FC236}">
                <a16:creationId xmlns:a16="http://schemas.microsoft.com/office/drawing/2014/main" id="{C6E585E2-E660-EA19-6B38-8C01B2A26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3739" y="5257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09" name="Kép 308">
            <a:extLst>
              <a:ext uri="{FF2B5EF4-FFF2-40B4-BE49-F238E27FC236}">
                <a16:creationId xmlns:a16="http://schemas.microsoft.com/office/drawing/2014/main" id="{36DA7956-2FD9-265D-776B-3E5596FFBC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3692" y="5257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0" name="Kép 309">
            <a:extLst>
              <a:ext uri="{FF2B5EF4-FFF2-40B4-BE49-F238E27FC236}">
                <a16:creationId xmlns:a16="http://schemas.microsoft.com/office/drawing/2014/main" id="{F579F68D-0D9A-5A40-815B-2D6BB2CC94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3692" y="9355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1" name="Kép 310">
            <a:extLst>
              <a:ext uri="{FF2B5EF4-FFF2-40B4-BE49-F238E27FC236}">
                <a16:creationId xmlns:a16="http://schemas.microsoft.com/office/drawing/2014/main" id="{016255BE-87A0-FF18-C5F0-52B96E2C71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2150" y="9355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2" name="Kép 311">
            <a:extLst>
              <a:ext uri="{FF2B5EF4-FFF2-40B4-BE49-F238E27FC236}">
                <a16:creationId xmlns:a16="http://schemas.microsoft.com/office/drawing/2014/main" id="{75075043-D47F-9BF0-8A9F-C86982EBC5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3739" y="9352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3" name="Kép 312">
            <a:extLst>
              <a:ext uri="{FF2B5EF4-FFF2-40B4-BE49-F238E27FC236}">
                <a16:creationId xmlns:a16="http://schemas.microsoft.com/office/drawing/2014/main" id="{EBFF61EB-BF27-F4BB-C93E-FB0B50A9F0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5563" y="-2949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4" name="Kép 313">
            <a:extLst>
              <a:ext uri="{FF2B5EF4-FFF2-40B4-BE49-F238E27FC236}">
                <a16:creationId xmlns:a16="http://schemas.microsoft.com/office/drawing/2014/main" id="{08D4FBC2-A1F7-9FD5-21F3-31A0F1DAD7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2872" y="13463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5" name="Kép 314">
            <a:extLst>
              <a:ext uri="{FF2B5EF4-FFF2-40B4-BE49-F238E27FC236}">
                <a16:creationId xmlns:a16="http://schemas.microsoft.com/office/drawing/2014/main" id="{8F357545-4F9D-35A3-EA6C-697C123334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3063" y="13463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6" name="Kép 315">
            <a:extLst>
              <a:ext uri="{FF2B5EF4-FFF2-40B4-BE49-F238E27FC236}">
                <a16:creationId xmlns:a16="http://schemas.microsoft.com/office/drawing/2014/main" id="{13DC41D9-2D82-35B7-CB20-0B9F2F5B2D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3063" y="175626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7" name="Kép 316">
            <a:extLst>
              <a:ext uri="{FF2B5EF4-FFF2-40B4-BE49-F238E27FC236}">
                <a16:creationId xmlns:a16="http://schemas.microsoft.com/office/drawing/2014/main" id="{0B071F6B-20E6-FAF5-18E2-C32DCABE85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1521" y="175626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8" name="Kép 317" descr="A képen szöveg látható&#10;&#10;Automatikusan generált leírás">
            <a:extLst>
              <a:ext uri="{FF2B5EF4-FFF2-40B4-BE49-F238E27FC236}">
                <a16:creationId xmlns:a16="http://schemas.microsoft.com/office/drawing/2014/main" id="{28184E89-2B2E-C908-555E-CC987351F7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665" y="1047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19" name="Kép 318">
            <a:extLst>
              <a:ext uri="{FF2B5EF4-FFF2-40B4-BE49-F238E27FC236}">
                <a16:creationId xmlns:a16="http://schemas.microsoft.com/office/drawing/2014/main" id="{562AC72D-95FC-1AA9-923D-CD48CD19B5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3110" y="9352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0" name="Kép 319">
            <a:extLst>
              <a:ext uri="{FF2B5EF4-FFF2-40B4-BE49-F238E27FC236}">
                <a16:creationId xmlns:a16="http://schemas.microsoft.com/office/drawing/2014/main" id="{B60D884B-1F6B-3A42-3E69-583FC0C5C8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9978" y="175626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1" name="Kép 320">
            <a:extLst>
              <a:ext uri="{FF2B5EF4-FFF2-40B4-BE49-F238E27FC236}">
                <a16:creationId xmlns:a16="http://schemas.microsoft.com/office/drawing/2014/main" id="{9D6014D7-1804-63E1-BAEB-FED412ED0B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203" y="17575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2" name="Kép 321">
            <a:extLst>
              <a:ext uri="{FF2B5EF4-FFF2-40B4-BE49-F238E27FC236}">
                <a16:creationId xmlns:a16="http://schemas.microsoft.com/office/drawing/2014/main" id="{EA895C57-F3E1-0D34-E5A9-267770AC58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156" y="17575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3" name="Kép 322" descr="A képen szöveg látható&#10;&#10;Automatikusan generált leírás">
            <a:extLst>
              <a:ext uri="{FF2B5EF4-FFF2-40B4-BE49-F238E27FC236}">
                <a16:creationId xmlns:a16="http://schemas.microsoft.com/office/drawing/2014/main" id="{14D6B079-9E79-D45B-673D-04FE79A0B1F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5449" y="13463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4" name="Kép 323">
            <a:extLst>
              <a:ext uri="{FF2B5EF4-FFF2-40B4-BE49-F238E27FC236}">
                <a16:creationId xmlns:a16="http://schemas.microsoft.com/office/drawing/2014/main" id="{4C43E033-691B-C187-85B8-77E4EAAD06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203" y="13463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5" name="Kép 324">
            <a:extLst>
              <a:ext uri="{FF2B5EF4-FFF2-40B4-BE49-F238E27FC236}">
                <a16:creationId xmlns:a16="http://schemas.microsoft.com/office/drawing/2014/main" id="{2B808F18-C487-8889-CFC1-C533E51F6D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72690" y="-5908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6" name="Kép 325">
            <a:extLst>
              <a:ext uri="{FF2B5EF4-FFF2-40B4-BE49-F238E27FC236}">
                <a16:creationId xmlns:a16="http://schemas.microsoft.com/office/drawing/2014/main" id="{22464D83-C4EA-312F-3852-D4B4008F54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7230" y="1136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7" name="Kép 326">
            <a:extLst>
              <a:ext uri="{FF2B5EF4-FFF2-40B4-BE49-F238E27FC236}">
                <a16:creationId xmlns:a16="http://schemas.microsoft.com/office/drawing/2014/main" id="{11C38AEF-23D7-C6C7-2A96-CC8CB4FF8E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3930" y="5247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8" name="Kép 327">
            <a:extLst>
              <a:ext uri="{FF2B5EF4-FFF2-40B4-BE49-F238E27FC236}">
                <a16:creationId xmlns:a16="http://schemas.microsoft.com/office/drawing/2014/main" id="{976663CC-FDF5-ADD3-14C6-64ED244125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419" y="25775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29" name="Kép 328">
            <a:extLst>
              <a:ext uri="{FF2B5EF4-FFF2-40B4-BE49-F238E27FC236}">
                <a16:creationId xmlns:a16="http://schemas.microsoft.com/office/drawing/2014/main" id="{5C4E06E7-AD56-38A5-5624-794A47F667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5775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0" name="Kép 329">
            <a:extLst>
              <a:ext uri="{FF2B5EF4-FFF2-40B4-BE49-F238E27FC236}">
                <a16:creationId xmlns:a16="http://schemas.microsoft.com/office/drawing/2014/main" id="{449E94C4-13E9-28E1-6B20-4D3B6C4B81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9874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1" name="Kép 330">
            <a:extLst>
              <a:ext uri="{FF2B5EF4-FFF2-40B4-BE49-F238E27FC236}">
                <a16:creationId xmlns:a16="http://schemas.microsoft.com/office/drawing/2014/main" id="{43F3DFE4-6FB7-6B78-E2AD-12016FB3EF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830" y="29874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2" name="Kép 331" descr="A képen szöveg látható&#10;&#10;Automatikusan generált leírás">
            <a:extLst>
              <a:ext uri="{FF2B5EF4-FFF2-40B4-BE49-F238E27FC236}">
                <a16:creationId xmlns:a16="http://schemas.microsoft.com/office/drawing/2014/main" id="{2061D890-F598-D661-035A-920311EA185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665" y="2166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3" name="Kép 332">
            <a:extLst>
              <a:ext uri="{FF2B5EF4-FFF2-40B4-BE49-F238E27FC236}">
                <a16:creationId xmlns:a16="http://schemas.microsoft.com/office/drawing/2014/main" id="{18350348-4D0B-A3E2-151D-B81B912F17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419" y="2166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4" name="Kép 333">
            <a:extLst>
              <a:ext uri="{FF2B5EF4-FFF2-40B4-BE49-F238E27FC236}">
                <a16:creationId xmlns:a16="http://schemas.microsoft.com/office/drawing/2014/main" id="{520F1446-3622-59BD-38D6-7F9EC715F0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419" y="29871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5" name="Kép 334">
            <a:extLst>
              <a:ext uri="{FF2B5EF4-FFF2-40B4-BE49-F238E27FC236}">
                <a16:creationId xmlns:a16="http://schemas.microsoft.com/office/drawing/2014/main" id="{3F7B720C-B7E7-206E-4322-21B05515C9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3790" y="33982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6" name="Kép 335">
            <a:extLst>
              <a:ext uri="{FF2B5EF4-FFF2-40B4-BE49-F238E27FC236}">
                <a16:creationId xmlns:a16="http://schemas.microsoft.com/office/drawing/2014/main" id="{97FA8AEC-586D-D549-1F29-D5DC5191687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552" y="33982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7" name="Kép 336">
            <a:extLst>
              <a:ext uri="{FF2B5EF4-FFF2-40B4-BE49-F238E27FC236}">
                <a16:creationId xmlns:a16="http://schemas.microsoft.com/office/drawing/2014/main" id="{92E21897-2B42-64CC-6DA6-96517B01A3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743" y="33982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8" name="Kép 337">
            <a:extLst>
              <a:ext uri="{FF2B5EF4-FFF2-40B4-BE49-F238E27FC236}">
                <a16:creationId xmlns:a16="http://schemas.microsoft.com/office/drawing/2014/main" id="{711AC487-E16D-A46B-1E6D-2C0D356B3B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743" y="38081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39" name="Kép 338">
            <a:extLst>
              <a:ext uri="{FF2B5EF4-FFF2-40B4-BE49-F238E27FC236}">
                <a16:creationId xmlns:a16="http://schemas.microsoft.com/office/drawing/2014/main" id="{66D208BB-21F8-62F0-60E6-A5E7ED3232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201" y="38081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0" name="Kép 339" descr="A képen szöveg látható&#10;&#10;Automatikusan generált leírás">
            <a:extLst>
              <a:ext uri="{FF2B5EF4-FFF2-40B4-BE49-F238E27FC236}">
                <a16:creationId xmlns:a16="http://schemas.microsoft.com/office/drawing/2014/main" id="{872B7B10-C200-0E43-791B-AA44DD7180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8036" y="29871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1" name="Kép 340">
            <a:extLst>
              <a:ext uri="{FF2B5EF4-FFF2-40B4-BE49-F238E27FC236}">
                <a16:creationId xmlns:a16="http://schemas.microsoft.com/office/drawing/2014/main" id="{82FF4F31-6661-749C-0F1E-C073AAB9563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3790" y="29871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2" name="Kép 341">
            <a:extLst>
              <a:ext uri="{FF2B5EF4-FFF2-40B4-BE49-F238E27FC236}">
                <a16:creationId xmlns:a16="http://schemas.microsoft.com/office/drawing/2014/main" id="{002F1437-D014-7174-D51E-D3798AC1F1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8" y="38081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3" name="Kép 342">
            <a:extLst>
              <a:ext uri="{FF2B5EF4-FFF2-40B4-BE49-F238E27FC236}">
                <a16:creationId xmlns:a16="http://schemas.microsoft.com/office/drawing/2014/main" id="{0C5A69E2-BB59-C989-2EAD-D04034087C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80936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4" name="Kép 343">
            <a:extLst>
              <a:ext uri="{FF2B5EF4-FFF2-40B4-BE49-F238E27FC236}">
                <a16:creationId xmlns:a16="http://schemas.microsoft.com/office/drawing/2014/main" id="{964A5764-053E-B573-8F21-771344CBDC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380936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5" name="Kép 344" descr="A képen szöveg látható&#10;&#10;Automatikusan generált leírás">
            <a:extLst>
              <a:ext uri="{FF2B5EF4-FFF2-40B4-BE49-F238E27FC236}">
                <a16:creationId xmlns:a16="http://schemas.microsoft.com/office/drawing/2014/main" id="{6BCCB48E-1B95-1621-8EEF-9B55EF88E0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33982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6" name="Kép 345">
            <a:extLst>
              <a:ext uri="{FF2B5EF4-FFF2-40B4-BE49-F238E27FC236}">
                <a16:creationId xmlns:a16="http://schemas.microsoft.com/office/drawing/2014/main" id="{F27C57E8-94EB-18EF-5D38-CBE83420F8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3982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7" name="Kép 346">
            <a:extLst>
              <a:ext uri="{FF2B5EF4-FFF2-40B4-BE49-F238E27FC236}">
                <a16:creationId xmlns:a16="http://schemas.microsoft.com/office/drawing/2014/main" id="{C8AD65AE-67E3-79A8-445F-5348104141D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7504" y="21667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8" name="Kép 347">
            <a:extLst>
              <a:ext uri="{FF2B5EF4-FFF2-40B4-BE49-F238E27FC236}">
                <a16:creationId xmlns:a16="http://schemas.microsoft.com/office/drawing/2014/main" id="{AD0107BC-3CC4-B1B8-B1DD-5A2848E3D4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7695" y="21667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49" name="Kép 348">
            <a:extLst>
              <a:ext uri="{FF2B5EF4-FFF2-40B4-BE49-F238E27FC236}">
                <a16:creationId xmlns:a16="http://schemas.microsoft.com/office/drawing/2014/main" id="{3E40A466-48D7-D793-6E00-599FBD0DA9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7695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0" name="Kép 349">
            <a:extLst>
              <a:ext uri="{FF2B5EF4-FFF2-40B4-BE49-F238E27FC236}">
                <a16:creationId xmlns:a16="http://schemas.microsoft.com/office/drawing/2014/main" id="{277D506B-EA0B-7E3D-3DCA-192EB9B382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153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1" name="Kép 350">
            <a:extLst>
              <a:ext uri="{FF2B5EF4-FFF2-40B4-BE49-F238E27FC236}">
                <a16:creationId xmlns:a16="http://schemas.microsoft.com/office/drawing/2014/main" id="{5A5F9C64-D87A-DBC1-7C71-B02C7740D2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4610" y="257663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2" name="Kép 351">
            <a:extLst>
              <a:ext uri="{FF2B5EF4-FFF2-40B4-BE49-F238E27FC236}">
                <a16:creationId xmlns:a16="http://schemas.microsoft.com/office/drawing/2014/main" id="{7CB82DC4-77E5-98AE-0391-813906D2E7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57542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3" name="Kép 352">
            <a:extLst>
              <a:ext uri="{FF2B5EF4-FFF2-40B4-BE49-F238E27FC236}">
                <a16:creationId xmlns:a16="http://schemas.microsoft.com/office/drawing/2014/main" id="{124B3BBF-BB1C-900B-433D-10953D03C7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57542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4" name="Kép 353">
            <a:extLst>
              <a:ext uri="{FF2B5EF4-FFF2-40B4-BE49-F238E27FC236}">
                <a16:creationId xmlns:a16="http://schemas.microsoft.com/office/drawing/2014/main" id="{657D95AF-D531-0036-D56A-261E4FECFF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9852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5" name="Kép 354">
            <a:extLst>
              <a:ext uri="{FF2B5EF4-FFF2-40B4-BE49-F238E27FC236}">
                <a16:creationId xmlns:a16="http://schemas.microsoft.com/office/drawing/2014/main" id="{31A0FFBB-446F-9FED-4F2D-CFB39A0827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261" y="29852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6" name="Kép 355">
            <a:extLst>
              <a:ext uri="{FF2B5EF4-FFF2-40B4-BE49-F238E27FC236}">
                <a16:creationId xmlns:a16="http://schemas.microsoft.com/office/drawing/2014/main" id="{90B417E6-E414-07AD-1BF8-68954AA12D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9849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7" name="Kép 356">
            <a:extLst>
              <a:ext uri="{FF2B5EF4-FFF2-40B4-BE49-F238E27FC236}">
                <a16:creationId xmlns:a16="http://schemas.microsoft.com/office/drawing/2014/main" id="{D1DE066F-9B42-5DE6-5833-E9928AF7C9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33961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8" name="Kép 357">
            <a:extLst>
              <a:ext uri="{FF2B5EF4-FFF2-40B4-BE49-F238E27FC236}">
                <a16:creationId xmlns:a16="http://schemas.microsoft.com/office/drawing/2014/main" id="{7116ABBD-AEA3-A8D3-FE47-C77ED0AE5F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983" y="33961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59" name="Kép 358">
            <a:extLst>
              <a:ext uri="{FF2B5EF4-FFF2-40B4-BE49-F238E27FC236}">
                <a16:creationId xmlns:a16="http://schemas.microsoft.com/office/drawing/2014/main" id="{08C6BD51-74BC-A297-CA4D-99419EAC06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3961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0" name="Kép 359">
            <a:extLst>
              <a:ext uri="{FF2B5EF4-FFF2-40B4-BE49-F238E27FC236}">
                <a16:creationId xmlns:a16="http://schemas.microsoft.com/office/drawing/2014/main" id="{FAA1E727-3F79-03A5-E31C-16F14A5985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8059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1" name="Kép 360">
            <a:extLst>
              <a:ext uri="{FF2B5EF4-FFF2-40B4-BE49-F238E27FC236}">
                <a16:creationId xmlns:a16="http://schemas.microsoft.com/office/drawing/2014/main" id="{611619A4-40E8-B7AD-E34F-EDBCCE3AD7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632" y="38059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2" name="Kép 361" descr="A képen szöveg látható&#10;&#10;Automatikusan generált leírás">
            <a:extLst>
              <a:ext uri="{FF2B5EF4-FFF2-40B4-BE49-F238E27FC236}">
                <a16:creationId xmlns:a16="http://schemas.microsoft.com/office/drawing/2014/main" id="{280A9A45-1B07-B484-5240-8009C6FD6C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467" y="29849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3" name="Kép 362">
            <a:extLst>
              <a:ext uri="{FF2B5EF4-FFF2-40B4-BE49-F238E27FC236}">
                <a16:creationId xmlns:a16="http://schemas.microsoft.com/office/drawing/2014/main" id="{A56F8350-BF18-6570-4E79-20184911A6A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29849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4" name="Kép 363">
            <a:extLst>
              <a:ext uri="{FF2B5EF4-FFF2-40B4-BE49-F238E27FC236}">
                <a16:creationId xmlns:a16="http://schemas.microsoft.com/office/drawing/2014/main" id="{CBD7378E-738A-A3A2-DBC6-8B43282CEA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089" y="38059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5" name="Kép 364">
            <a:extLst>
              <a:ext uri="{FF2B5EF4-FFF2-40B4-BE49-F238E27FC236}">
                <a16:creationId xmlns:a16="http://schemas.microsoft.com/office/drawing/2014/main" id="{47401D81-5C06-5BEC-1C7E-C491A624D1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80721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6" name="Kép 365">
            <a:extLst>
              <a:ext uri="{FF2B5EF4-FFF2-40B4-BE49-F238E27FC236}">
                <a16:creationId xmlns:a16="http://schemas.microsoft.com/office/drawing/2014/main" id="{53F7EE60-1007-D8A3-F1A0-E5CAB1A90A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380721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7" name="Kép 366" descr="A képen szöveg látható&#10;&#10;Automatikusan generált leírás">
            <a:extLst>
              <a:ext uri="{FF2B5EF4-FFF2-40B4-BE49-F238E27FC236}">
                <a16:creationId xmlns:a16="http://schemas.microsoft.com/office/drawing/2014/main" id="{1FE95C09-242B-56DB-FB3B-87B86A0934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33961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8" name="Kép 367">
            <a:extLst>
              <a:ext uri="{FF2B5EF4-FFF2-40B4-BE49-F238E27FC236}">
                <a16:creationId xmlns:a16="http://schemas.microsoft.com/office/drawing/2014/main" id="{4CBD2035-E3AC-BC4E-7FB1-1787295100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3961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69" name="Kép 368">
            <a:extLst>
              <a:ext uri="{FF2B5EF4-FFF2-40B4-BE49-F238E27FC236}">
                <a16:creationId xmlns:a16="http://schemas.microsoft.com/office/drawing/2014/main" id="{E693C9B6-E979-405D-CDA9-D1616EA226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126" y="25744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0" name="Kép 369">
            <a:extLst>
              <a:ext uri="{FF2B5EF4-FFF2-40B4-BE49-F238E27FC236}">
                <a16:creationId xmlns:a16="http://schemas.microsoft.com/office/drawing/2014/main" id="{59CBE0DE-C79D-D3F5-8686-7B5DA230AE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584" y="25744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1" name="Kép 370">
            <a:extLst>
              <a:ext uri="{FF2B5EF4-FFF2-40B4-BE49-F238E27FC236}">
                <a16:creationId xmlns:a16="http://schemas.microsoft.com/office/drawing/2014/main" id="{F55F43F4-0DD9-0820-35E6-2E398FB25F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041" y="25744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2" name="Kép 371">
            <a:extLst>
              <a:ext uri="{FF2B5EF4-FFF2-40B4-BE49-F238E27FC236}">
                <a16:creationId xmlns:a16="http://schemas.microsoft.com/office/drawing/2014/main" id="{E69F7F7D-A7B4-45BC-58DE-D332EFA8A8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5379" y="2166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3" name="Kép 372">
            <a:extLst>
              <a:ext uri="{FF2B5EF4-FFF2-40B4-BE49-F238E27FC236}">
                <a16:creationId xmlns:a16="http://schemas.microsoft.com/office/drawing/2014/main" id="{865D4C17-D066-9CBD-703E-D7C9DFE469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235" y="421923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4" name="Kép 373">
            <a:extLst>
              <a:ext uri="{FF2B5EF4-FFF2-40B4-BE49-F238E27FC236}">
                <a16:creationId xmlns:a16="http://schemas.microsoft.com/office/drawing/2014/main" id="{F162D88B-B7E1-91D4-D6C4-1257AB4E51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6313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5" name="Kép 374">
            <a:extLst>
              <a:ext uri="{FF2B5EF4-FFF2-40B4-BE49-F238E27FC236}">
                <a16:creationId xmlns:a16="http://schemas.microsoft.com/office/drawing/2014/main" id="{6C0007DF-80ED-C234-19B9-AD2F2C9EA4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46313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6" name="Kép 375">
            <a:extLst>
              <a:ext uri="{FF2B5EF4-FFF2-40B4-BE49-F238E27FC236}">
                <a16:creationId xmlns:a16="http://schemas.microsoft.com/office/drawing/2014/main" id="{7E62FBE3-971C-6AE3-9F57-8BF4FC4692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50412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7" name="Kép 376">
            <a:extLst>
              <a:ext uri="{FF2B5EF4-FFF2-40B4-BE49-F238E27FC236}">
                <a16:creationId xmlns:a16="http://schemas.microsoft.com/office/drawing/2014/main" id="{92631F45-24EC-B074-0D9C-0EE41C2FF2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674" y="50412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8" name="Kép 377" descr="A képen szöveg látható&#10;&#10;Automatikusan generált leírás">
            <a:extLst>
              <a:ext uri="{FF2B5EF4-FFF2-40B4-BE49-F238E27FC236}">
                <a16:creationId xmlns:a16="http://schemas.microsoft.com/office/drawing/2014/main" id="{EFC4F867-7B19-3BA7-2ADB-EC8C5A1437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509" y="42202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79" name="Kép 378">
            <a:extLst>
              <a:ext uri="{FF2B5EF4-FFF2-40B4-BE49-F238E27FC236}">
                <a16:creationId xmlns:a16="http://schemas.microsoft.com/office/drawing/2014/main" id="{DD1BE4AA-4E0E-AD51-F8E8-E28F757E68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2202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0" name="Kép 379">
            <a:extLst>
              <a:ext uri="{FF2B5EF4-FFF2-40B4-BE49-F238E27FC236}">
                <a16:creationId xmlns:a16="http://schemas.microsoft.com/office/drawing/2014/main" id="{D3295DF7-5152-4E0C-9B62-0EF578D27B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50408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1" name="Kép 380">
            <a:extLst>
              <a:ext uri="{FF2B5EF4-FFF2-40B4-BE49-F238E27FC236}">
                <a16:creationId xmlns:a16="http://schemas.microsoft.com/office/drawing/2014/main" id="{ADEC91FA-396B-7CB2-C030-4F10DFCD8A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54520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2" name="Kép 381">
            <a:extLst>
              <a:ext uri="{FF2B5EF4-FFF2-40B4-BE49-F238E27FC236}">
                <a16:creationId xmlns:a16="http://schemas.microsoft.com/office/drawing/2014/main" id="{A61584AF-BD21-F7BB-0543-283DF2916C9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396" y="54520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3" name="Kép 382">
            <a:extLst>
              <a:ext uri="{FF2B5EF4-FFF2-40B4-BE49-F238E27FC236}">
                <a16:creationId xmlns:a16="http://schemas.microsoft.com/office/drawing/2014/main" id="{5BECB48D-08EB-5215-EA87-C711E78CC0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4520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4" name="Kép 383">
            <a:extLst>
              <a:ext uri="{FF2B5EF4-FFF2-40B4-BE49-F238E27FC236}">
                <a16:creationId xmlns:a16="http://schemas.microsoft.com/office/drawing/2014/main" id="{A7D8C89F-5ADA-7F3F-B219-81A21EEA08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8618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5" name="Kép 384">
            <a:extLst>
              <a:ext uri="{FF2B5EF4-FFF2-40B4-BE49-F238E27FC236}">
                <a16:creationId xmlns:a16="http://schemas.microsoft.com/office/drawing/2014/main" id="{59EB14A1-E9D9-D0EB-78FC-6DB305F2C6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45" y="58618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6" name="Kép 385" descr="A képen szöveg látható&#10;&#10;Automatikusan generált leírás">
            <a:extLst>
              <a:ext uri="{FF2B5EF4-FFF2-40B4-BE49-F238E27FC236}">
                <a16:creationId xmlns:a16="http://schemas.microsoft.com/office/drawing/2014/main" id="{C52F9F3C-3256-7693-7236-6DD945367C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880" y="50408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7" name="Kép 386">
            <a:extLst>
              <a:ext uri="{FF2B5EF4-FFF2-40B4-BE49-F238E27FC236}">
                <a16:creationId xmlns:a16="http://schemas.microsoft.com/office/drawing/2014/main" id="{AEF27945-AEDD-FF3F-AF4F-2ED5D068E8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50408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8" name="Kép 387">
            <a:extLst>
              <a:ext uri="{FF2B5EF4-FFF2-40B4-BE49-F238E27FC236}">
                <a16:creationId xmlns:a16="http://schemas.microsoft.com/office/drawing/2014/main" id="{6D08897F-1720-5436-B53B-C143C945C1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502" y="58618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89" name="Kép 388">
            <a:extLst>
              <a:ext uri="{FF2B5EF4-FFF2-40B4-BE49-F238E27FC236}">
                <a16:creationId xmlns:a16="http://schemas.microsoft.com/office/drawing/2014/main" id="{ABCF4998-31C1-EDE9-F8C8-008CA533D8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8631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0" name="Kép 389">
            <a:extLst>
              <a:ext uri="{FF2B5EF4-FFF2-40B4-BE49-F238E27FC236}">
                <a16:creationId xmlns:a16="http://schemas.microsoft.com/office/drawing/2014/main" id="{17812E4E-C715-21E4-61D4-8F0B29EFF3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680" y="58631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1" name="Kép 390" descr="A képen szöveg látható&#10;&#10;Automatikusan generált leírás">
            <a:extLst>
              <a:ext uri="{FF2B5EF4-FFF2-40B4-BE49-F238E27FC236}">
                <a16:creationId xmlns:a16="http://schemas.microsoft.com/office/drawing/2014/main" id="{45F23212-CA88-0754-C053-74561FA383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973" y="54520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2" name="Kép 391">
            <a:extLst>
              <a:ext uri="{FF2B5EF4-FFF2-40B4-BE49-F238E27FC236}">
                <a16:creationId xmlns:a16="http://schemas.microsoft.com/office/drawing/2014/main" id="{D4482503-D76B-937E-A700-DA3A3E1510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4520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3" name="Kép 392">
            <a:extLst>
              <a:ext uri="{FF2B5EF4-FFF2-40B4-BE49-F238E27FC236}">
                <a16:creationId xmlns:a16="http://schemas.microsoft.com/office/drawing/2014/main" id="{AE1E914B-C27C-7E19-EF55-D71E0313B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348" y="42205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4" name="Kép 393">
            <a:extLst>
              <a:ext uri="{FF2B5EF4-FFF2-40B4-BE49-F238E27FC236}">
                <a16:creationId xmlns:a16="http://schemas.microsoft.com/office/drawing/2014/main" id="{91AAB1DB-4868-4D0D-E176-1F2F39CECB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2205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5" name="Kép 394">
            <a:extLst>
              <a:ext uri="{FF2B5EF4-FFF2-40B4-BE49-F238E27FC236}">
                <a16:creationId xmlns:a16="http://schemas.microsoft.com/office/drawing/2014/main" id="{3253E1C3-9B46-B85B-C0EB-8132F30DA7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630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6" name="Kép 395">
            <a:extLst>
              <a:ext uri="{FF2B5EF4-FFF2-40B4-BE49-F238E27FC236}">
                <a16:creationId xmlns:a16="http://schemas.microsoft.com/office/drawing/2014/main" id="{5CB64404-6590-ED4F-F085-AA6D823EFC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997" y="4630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7" name="Kép 396">
            <a:extLst>
              <a:ext uri="{FF2B5EF4-FFF2-40B4-BE49-F238E27FC236}">
                <a16:creationId xmlns:a16="http://schemas.microsoft.com/office/drawing/2014/main" id="{F5B0CF83-F559-22B0-6328-4EA62368DE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454" y="4630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8" name="Kép 397">
            <a:extLst>
              <a:ext uri="{FF2B5EF4-FFF2-40B4-BE49-F238E27FC236}">
                <a16:creationId xmlns:a16="http://schemas.microsoft.com/office/drawing/2014/main" id="{69E8140C-591E-85E6-698C-FE6C7CBBB6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2205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9" name="Kép 398">
            <a:extLst>
              <a:ext uri="{FF2B5EF4-FFF2-40B4-BE49-F238E27FC236}">
                <a16:creationId xmlns:a16="http://schemas.microsoft.com/office/drawing/2014/main" id="{2F5AF5DA-AD03-FC95-00F3-C45701ADA1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2205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0" name="Kép 399">
            <a:extLst>
              <a:ext uri="{FF2B5EF4-FFF2-40B4-BE49-F238E27FC236}">
                <a16:creationId xmlns:a16="http://schemas.microsoft.com/office/drawing/2014/main" id="{9B947567-6934-F882-1532-CBED8FB13A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630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1" name="Kép 400">
            <a:extLst>
              <a:ext uri="{FF2B5EF4-FFF2-40B4-BE49-F238E27FC236}">
                <a16:creationId xmlns:a16="http://schemas.microsoft.com/office/drawing/2014/main" id="{EB1BA631-671D-E177-7F8B-63542107A9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31" y="4630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2" name="Kép 401">
            <a:extLst>
              <a:ext uri="{FF2B5EF4-FFF2-40B4-BE49-F238E27FC236}">
                <a16:creationId xmlns:a16="http://schemas.microsoft.com/office/drawing/2014/main" id="{5DFFDA3A-B500-1BE6-0667-2A4E13FFB9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6300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3" name="Kép 402">
            <a:extLst>
              <a:ext uri="{FF2B5EF4-FFF2-40B4-BE49-F238E27FC236}">
                <a16:creationId xmlns:a16="http://schemas.microsoft.com/office/drawing/2014/main" id="{481088D7-10F0-ACFA-55B9-A9224D6A42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50411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4" name="Kép 403">
            <a:extLst>
              <a:ext uri="{FF2B5EF4-FFF2-40B4-BE49-F238E27FC236}">
                <a16:creationId xmlns:a16="http://schemas.microsoft.com/office/drawing/2014/main" id="{776F9EAF-4B9A-958C-5229-BD67541B75E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53" y="50411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5" name="Kép 404">
            <a:extLst>
              <a:ext uri="{FF2B5EF4-FFF2-40B4-BE49-F238E27FC236}">
                <a16:creationId xmlns:a16="http://schemas.microsoft.com/office/drawing/2014/main" id="{F43BBA24-8461-05EB-E429-5BFBD1C874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50411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6" name="Kép 405">
            <a:extLst>
              <a:ext uri="{FF2B5EF4-FFF2-40B4-BE49-F238E27FC236}">
                <a16:creationId xmlns:a16="http://schemas.microsoft.com/office/drawing/2014/main" id="{097FB3CA-AD51-2C98-E429-1A1B4E86D4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5451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7" name="Kép 406">
            <a:extLst>
              <a:ext uri="{FF2B5EF4-FFF2-40B4-BE49-F238E27FC236}">
                <a16:creationId xmlns:a16="http://schemas.microsoft.com/office/drawing/2014/main" id="{112E2FF7-7888-794D-3F91-B848EE90F9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102" y="5451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8" name="Kép 407" descr="A képen szöveg látható&#10;&#10;Automatikusan generált leírás">
            <a:extLst>
              <a:ext uri="{FF2B5EF4-FFF2-40B4-BE49-F238E27FC236}">
                <a16:creationId xmlns:a16="http://schemas.microsoft.com/office/drawing/2014/main" id="{8D929237-29E4-CEB0-3265-C90FDF7A35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8937" y="46300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09" name="Kép 408">
            <a:extLst>
              <a:ext uri="{FF2B5EF4-FFF2-40B4-BE49-F238E27FC236}">
                <a16:creationId xmlns:a16="http://schemas.microsoft.com/office/drawing/2014/main" id="{E3FE55B4-6E2E-2C81-39DE-E9761F849A5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46300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0" name="Kép 409">
            <a:extLst>
              <a:ext uri="{FF2B5EF4-FFF2-40B4-BE49-F238E27FC236}">
                <a16:creationId xmlns:a16="http://schemas.microsoft.com/office/drawing/2014/main" id="{E5536886-3C5C-B6D7-0CF1-FD40F0F38B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559" y="5451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1" name="Kép 410">
            <a:extLst>
              <a:ext uri="{FF2B5EF4-FFF2-40B4-BE49-F238E27FC236}">
                <a16:creationId xmlns:a16="http://schemas.microsoft.com/office/drawing/2014/main" id="{0A98F362-99FA-320E-A465-4A23534F1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54523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2" name="Kép 411">
            <a:extLst>
              <a:ext uri="{FF2B5EF4-FFF2-40B4-BE49-F238E27FC236}">
                <a16:creationId xmlns:a16="http://schemas.microsoft.com/office/drawing/2014/main" id="{36E8C4B2-F833-1297-951C-728E29C545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737" y="54523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3" name="Kép 412" descr="A képen szöveg látható&#10;&#10;Automatikusan generált leírás">
            <a:extLst>
              <a:ext uri="{FF2B5EF4-FFF2-40B4-BE49-F238E27FC236}">
                <a16:creationId xmlns:a16="http://schemas.microsoft.com/office/drawing/2014/main" id="{5E34B621-3654-0E57-0D22-5C2FCBBC69C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030" y="50411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4" name="Kép 413">
            <a:extLst>
              <a:ext uri="{FF2B5EF4-FFF2-40B4-BE49-F238E27FC236}">
                <a16:creationId xmlns:a16="http://schemas.microsoft.com/office/drawing/2014/main" id="{F45C78F9-9D73-AD40-3C1F-E7062B69851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50411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5" name="Kép 414">
            <a:extLst>
              <a:ext uri="{FF2B5EF4-FFF2-40B4-BE49-F238E27FC236}">
                <a16:creationId xmlns:a16="http://schemas.microsoft.com/office/drawing/2014/main" id="{F0C6EDE9-6B0D-468C-B268-F001F37062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8596" y="4219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6" name="Kép 415">
            <a:extLst>
              <a:ext uri="{FF2B5EF4-FFF2-40B4-BE49-F238E27FC236}">
                <a16:creationId xmlns:a16="http://schemas.microsoft.com/office/drawing/2014/main" id="{A5C865A2-5500-61BB-691E-C435EEA35F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54" y="4219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7" name="Kép 416">
            <a:extLst>
              <a:ext uri="{FF2B5EF4-FFF2-40B4-BE49-F238E27FC236}">
                <a16:creationId xmlns:a16="http://schemas.microsoft.com/office/drawing/2014/main" id="{3434E7A4-F6E9-7565-85DE-5A260F59E6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5511" y="4219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8" name="Kép 417">
            <a:extLst>
              <a:ext uri="{FF2B5EF4-FFF2-40B4-BE49-F238E27FC236}">
                <a16:creationId xmlns:a16="http://schemas.microsoft.com/office/drawing/2014/main" id="{4D4B9593-31CC-6EA2-5C0A-ED9E9ED274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62723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19" name="Kép 418">
            <a:extLst>
              <a:ext uri="{FF2B5EF4-FFF2-40B4-BE49-F238E27FC236}">
                <a16:creationId xmlns:a16="http://schemas.microsoft.com/office/drawing/2014/main" id="{A63EC126-A501-1E04-1E67-6FE9EE5018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953" y="62723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0" name="Kép 419">
            <a:extLst>
              <a:ext uri="{FF2B5EF4-FFF2-40B4-BE49-F238E27FC236}">
                <a16:creationId xmlns:a16="http://schemas.microsoft.com/office/drawing/2014/main" id="{3467FB47-0D0F-93AE-13D6-379489FB17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953" y="668224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1" name="Kép 420">
            <a:extLst>
              <a:ext uri="{FF2B5EF4-FFF2-40B4-BE49-F238E27FC236}">
                <a16:creationId xmlns:a16="http://schemas.microsoft.com/office/drawing/2014/main" id="{82B605C7-5D2B-1342-AE02-24B863523A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411" y="668224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2" name="Kép 421" descr="A képen szöveg látható&#10;&#10;Automatikusan generált leírás">
            <a:extLst>
              <a:ext uri="{FF2B5EF4-FFF2-40B4-BE49-F238E27FC236}">
                <a16:creationId xmlns:a16="http://schemas.microsoft.com/office/drawing/2014/main" id="{7E7C66D6-51EC-2D09-7706-36DAB0E81F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246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3" name="Kép 422">
            <a:extLst>
              <a:ext uri="{FF2B5EF4-FFF2-40B4-BE49-F238E27FC236}">
                <a16:creationId xmlns:a16="http://schemas.microsoft.com/office/drawing/2014/main" id="{9EDE5029-7EB4-B411-D494-11CC41CBFC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4" name="Kép 423">
            <a:extLst>
              <a:ext uri="{FF2B5EF4-FFF2-40B4-BE49-F238E27FC236}">
                <a16:creationId xmlns:a16="http://schemas.microsoft.com/office/drawing/2014/main" id="{21A989DB-EA74-1A8C-0FEA-4A181E5857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6681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5" name="Kép 424">
            <a:extLst>
              <a:ext uri="{FF2B5EF4-FFF2-40B4-BE49-F238E27FC236}">
                <a16:creationId xmlns:a16="http://schemas.microsoft.com/office/drawing/2014/main" id="{5BA80264-BE72-2129-A80E-89AB530379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371" y="709305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6" name="Kép 425">
            <a:extLst>
              <a:ext uri="{FF2B5EF4-FFF2-40B4-BE49-F238E27FC236}">
                <a16:creationId xmlns:a16="http://schemas.microsoft.com/office/drawing/2014/main" id="{07563D92-FFD0-864D-F9F9-BCA49927EE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133" y="709305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7" name="Kép 426">
            <a:extLst>
              <a:ext uri="{FF2B5EF4-FFF2-40B4-BE49-F238E27FC236}">
                <a16:creationId xmlns:a16="http://schemas.microsoft.com/office/drawing/2014/main" id="{6579EE55-43A0-2701-B16D-B00EECFB7C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5324" y="709305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8" name="Kép 427">
            <a:extLst>
              <a:ext uri="{FF2B5EF4-FFF2-40B4-BE49-F238E27FC236}">
                <a16:creationId xmlns:a16="http://schemas.microsoft.com/office/drawing/2014/main" id="{FAB9A77C-B210-27BF-E270-AC121735DF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5324" y="750292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29" name="Kép 428">
            <a:extLst>
              <a:ext uri="{FF2B5EF4-FFF2-40B4-BE49-F238E27FC236}">
                <a16:creationId xmlns:a16="http://schemas.microsoft.com/office/drawing/2014/main" id="{72BB2991-3527-E293-0110-BE95E3278F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782" y="750292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0" name="Kép 429" descr="A képen szöveg látható&#10;&#10;Automatikusan generált leírás">
            <a:extLst>
              <a:ext uri="{FF2B5EF4-FFF2-40B4-BE49-F238E27FC236}">
                <a16:creationId xmlns:a16="http://schemas.microsoft.com/office/drawing/2014/main" id="{8107C624-92CD-D9AC-CD5F-01A282706C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617" y="6681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1" name="Kép 430">
            <a:extLst>
              <a:ext uri="{FF2B5EF4-FFF2-40B4-BE49-F238E27FC236}">
                <a16:creationId xmlns:a16="http://schemas.microsoft.com/office/drawing/2014/main" id="{CE21C197-CDB8-01B9-2F73-AEC1B0C02E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371" y="6681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2" name="Kép 431">
            <a:extLst>
              <a:ext uri="{FF2B5EF4-FFF2-40B4-BE49-F238E27FC236}">
                <a16:creationId xmlns:a16="http://schemas.microsoft.com/office/drawing/2014/main" id="{538E3AA9-025C-FD8F-17A9-A8EF9C691E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239" y="750292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3" name="Kép 432">
            <a:extLst>
              <a:ext uri="{FF2B5EF4-FFF2-40B4-BE49-F238E27FC236}">
                <a16:creationId xmlns:a16="http://schemas.microsoft.com/office/drawing/2014/main" id="{D8F2389A-7B91-BF87-4B26-3D96CD100D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464" y="75041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4" name="Kép 433">
            <a:extLst>
              <a:ext uri="{FF2B5EF4-FFF2-40B4-BE49-F238E27FC236}">
                <a16:creationId xmlns:a16="http://schemas.microsoft.com/office/drawing/2014/main" id="{3ABCB563-E8A9-7FDB-C56C-356DD09727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417" y="75041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5" name="Kép 434" descr="A képen szöveg látható&#10;&#10;Automatikusan generált leírás">
            <a:extLst>
              <a:ext uri="{FF2B5EF4-FFF2-40B4-BE49-F238E27FC236}">
                <a16:creationId xmlns:a16="http://schemas.microsoft.com/office/drawing/2014/main" id="{924ACA27-BA2A-6BC7-9A91-7E2E5B614A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710" y="709305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6" name="Kép 435">
            <a:extLst>
              <a:ext uri="{FF2B5EF4-FFF2-40B4-BE49-F238E27FC236}">
                <a16:creationId xmlns:a16="http://schemas.microsoft.com/office/drawing/2014/main" id="{88080691-094C-0B4B-60FC-14A8D4078B2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464" y="709305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7" name="Kép 436">
            <a:extLst>
              <a:ext uri="{FF2B5EF4-FFF2-40B4-BE49-F238E27FC236}">
                <a16:creationId xmlns:a16="http://schemas.microsoft.com/office/drawing/2014/main" id="{D8BE22EE-45CD-1B59-7467-FDE21AA5CE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85" y="58615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8" name="Kép 437">
            <a:extLst>
              <a:ext uri="{FF2B5EF4-FFF2-40B4-BE49-F238E27FC236}">
                <a16:creationId xmlns:a16="http://schemas.microsoft.com/office/drawing/2014/main" id="{14975D56-B3FE-1149-055E-60C146B6C5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58615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39" name="Kép 438">
            <a:extLst>
              <a:ext uri="{FF2B5EF4-FFF2-40B4-BE49-F238E27FC236}">
                <a16:creationId xmlns:a16="http://schemas.microsoft.com/office/drawing/2014/main" id="{216697D5-A715-47BC-4ADC-BEE9EAD911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62714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0" name="Kép 439">
            <a:extLst>
              <a:ext uri="{FF2B5EF4-FFF2-40B4-BE49-F238E27FC236}">
                <a16:creationId xmlns:a16="http://schemas.microsoft.com/office/drawing/2014/main" id="{4E95C56D-5CE9-0098-B4FC-D7CD3A6B59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734" y="62714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1" name="Kép 440">
            <a:extLst>
              <a:ext uri="{FF2B5EF4-FFF2-40B4-BE49-F238E27FC236}">
                <a16:creationId xmlns:a16="http://schemas.microsoft.com/office/drawing/2014/main" id="{9FD7D5AB-CB34-3936-22CA-CCCC7D04C1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91" y="62714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2" name="Kép 441">
            <a:extLst>
              <a:ext uri="{FF2B5EF4-FFF2-40B4-BE49-F238E27FC236}">
                <a16:creationId xmlns:a16="http://schemas.microsoft.com/office/drawing/2014/main" id="{B32014A3-D1BF-E70F-04B9-3B9ED451E5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431" y="62702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3" name="Kép 442">
            <a:extLst>
              <a:ext uri="{FF2B5EF4-FFF2-40B4-BE49-F238E27FC236}">
                <a16:creationId xmlns:a16="http://schemas.microsoft.com/office/drawing/2014/main" id="{A6C3EE88-23FF-51A0-831E-6164784C66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84" y="62702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4" name="Kép 443">
            <a:extLst>
              <a:ext uri="{FF2B5EF4-FFF2-40B4-BE49-F238E27FC236}">
                <a16:creationId xmlns:a16="http://schemas.microsoft.com/office/drawing/2014/main" id="{EBBE10CE-5833-0B24-B9B9-D45AACC06B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84" y="66801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5" name="Kép 444">
            <a:extLst>
              <a:ext uri="{FF2B5EF4-FFF2-40B4-BE49-F238E27FC236}">
                <a16:creationId xmlns:a16="http://schemas.microsoft.com/office/drawing/2014/main" id="{4A2AFCF2-F4C2-F1AD-45A8-996ABFA23F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842" y="66801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6" name="Kép 445">
            <a:extLst>
              <a:ext uri="{FF2B5EF4-FFF2-40B4-BE49-F238E27FC236}">
                <a16:creationId xmlns:a16="http://schemas.microsoft.com/office/drawing/2014/main" id="{510F5503-FA56-A2C5-E247-6849A19603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431" y="6679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7" name="Kép 446">
            <a:extLst>
              <a:ext uri="{FF2B5EF4-FFF2-40B4-BE49-F238E27FC236}">
                <a16:creationId xmlns:a16="http://schemas.microsoft.com/office/drawing/2014/main" id="{2A0C192A-893F-30BF-ACD3-BA102CB254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802" y="70909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8" name="Kép 447">
            <a:extLst>
              <a:ext uri="{FF2B5EF4-FFF2-40B4-BE49-F238E27FC236}">
                <a16:creationId xmlns:a16="http://schemas.microsoft.com/office/drawing/2014/main" id="{CB693814-3859-773A-ACBD-E566F8ABA4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564" y="70909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49" name="Kép 448">
            <a:extLst>
              <a:ext uri="{FF2B5EF4-FFF2-40B4-BE49-F238E27FC236}">
                <a16:creationId xmlns:a16="http://schemas.microsoft.com/office/drawing/2014/main" id="{88D1E638-0300-7126-3157-518D72E7AE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755" y="70909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0" name="Kép 449">
            <a:extLst>
              <a:ext uri="{FF2B5EF4-FFF2-40B4-BE49-F238E27FC236}">
                <a16:creationId xmlns:a16="http://schemas.microsoft.com/office/drawing/2014/main" id="{F7E07925-3833-4E79-C072-264F187F27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755" y="75007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1" name="Kép 450">
            <a:extLst>
              <a:ext uri="{FF2B5EF4-FFF2-40B4-BE49-F238E27FC236}">
                <a16:creationId xmlns:a16="http://schemas.microsoft.com/office/drawing/2014/main" id="{1A570F70-E323-A921-E068-21A196513E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213" y="75007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2" name="Kép 451" descr="A képen szöveg látható&#10;&#10;Automatikusan generált leírás">
            <a:extLst>
              <a:ext uri="{FF2B5EF4-FFF2-40B4-BE49-F238E27FC236}">
                <a16:creationId xmlns:a16="http://schemas.microsoft.com/office/drawing/2014/main" id="{34CD86AE-770E-FDF8-C848-E989A229DE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048" y="6679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3" name="Kép 452">
            <a:extLst>
              <a:ext uri="{FF2B5EF4-FFF2-40B4-BE49-F238E27FC236}">
                <a16:creationId xmlns:a16="http://schemas.microsoft.com/office/drawing/2014/main" id="{C503B51D-0328-8FEC-1524-00C85E843E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802" y="6679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4" name="Kép 453">
            <a:extLst>
              <a:ext uri="{FF2B5EF4-FFF2-40B4-BE49-F238E27FC236}">
                <a16:creationId xmlns:a16="http://schemas.microsoft.com/office/drawing/2014/main" id="{E5C033E7-1E4F-3D58-5E77-8CEBEFA217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4670" y="750078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5" name="Kép 454">
            <a:extLst>
              <a:ext uri="{FF2B5EF4-FFF2-40B4-BE49-F238E27FC236}">
                <a16:creationId xmlns:a16="http://schemas.microsoft.com/office/drawing/2014/main" id="{7185FE3A-635E-CC4A-7111-485A76436D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895" y="75020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6" name="Kép 455">
            <a:extLst>
              <a:ext uri="{FF2B5EF4-FFF2-40B4-BE49-F238E27FC236}">
                <a16:creationId xmlns:a16="http://schemas.microsoft.com/office/drawing/2014/main" id="{9946F50A-97DE-0484-0FAD-BC446BC979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848" y="75020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7" name="Kép 456" descr="A képen szöveg látható&#10;&#10;Automatikusan generált leírás">
            <a:extLst>
              <a:ext uri="{FF2B5EF4-FFF2-40B4-BE49-F238E27FC236}">
                <a16:creationId xmlns:a16="http://schemas.microsoft.com/office/drawing/2014/main" id="{30D2DB6F-E9C4-B681-C8A4-6BBE621D7E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141" y="70909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8" name="Kép 457">
            <a:extLst>
              <a:ext uri="{FF2B5EF4-FFF2-40B4-BE49-F238E27FC236}">
                <a16:creationId xmlns:a16="http://schemas.microsoft.com/office/drawing/2014/main" id="{AF3DBE9E-B5CD-833C-E649-B296B8B78B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895" y="70909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59" name="Kép 458">
            <a:extLst>
              <a:ext uri="{FF2B5EF4-FFF2-40B4-BE49-F238E27FC236}">
                <a16:creationId xmlns:a16="http://schemas.microsoft.com/office/drawing/2014/main" id="{0432F1F5-6944-5593-A268-14AB5C5EF0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707" y="62692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0" name="Kép 459">
            <a:extLst>
              <a:ext uri="{FF2B5EF4-FFF2-40B4-BE49-F238E27FC236}">
                <a16:creationId xmlns:a16="http://schemas.microsoft.com/office/drawing/2014/main" id="{00ECDDCC-39C3-A79F-1816-CC2DEEF0DE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165" y="62692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1" name="Kép 460">
            <a:extLst>
              <a:ext uri="{FF2B5EF4-FFF2-40B4-BE49-F238E27FC236}">
                <a16:creationId xmlns:a16="http://schemas.microsoft.com/office/drawing/2014/main" id="{F9027937-1D13-28CC-3891-D9494DC88A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8622" y="62692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2" name="Kép 461">
            <a:extLst>
              <a:ext uri="{FF2B5EF4-FFF2-40B4-BE49-F238E27FC236}">
                <a16:creationId xmlns:a16="http://schemas.microsoft.com/office/drawing/2014/main" id="{2E43D6D6-7122-2F00-CCC0-55ADDE4584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6960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3" name="Kép 462">
            <a:extLst>
              <a:ext uri="{FF2B5EF4-FFF2-40B4-BE49-F238E27FC236}">
                <a16:creationId xmlns:a16="http://schemas.microsoft.com/office/drawing/2014/main" id="{3D7AC0F6-9D40-D2A4-58B9-C1B5963B22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408" y="54643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4" name="Kép 463">
            <a:extLst>
              <a:ext uri="{FF2B5EF4-FFF2-40B4-BE49-F238E27FC236}">
                <a16:creationId xmlns:a16="http://schemas.microsoft.com/office/drawing/2014/main" id="{FEE338BB-8B3C-2807-54F6-449176A4AB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8764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5" name="Kép 464">
            <a:extLst>
              <a:ext uri="{FF2B5EF4-FFF2-40B4-BE49-F238E27FC236}">
                <a16:creationId xmlns:a16="http://schemas.microsoft.com/office/drawing/2014/main" id="{3613ECB6-0317-EFB1-400D-88DCF5B983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58764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6" name="Kép 465">
            <a:extLst>
              <a:ext uri="{FF2B5EF4-FFF2-40B4-BE49-F238E27FC236}">
                <a16:creationId xmlns:a16="http://schemas.microsoft.com/office/drawing/2014/main" id="{89319E9C-88EA-89A7-2EAB-4C1820B3F4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62863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7" name="Kép 466">
            <a:extLst>
              <a:ext uri="{FF2B5EF4-FFF2-40B4-BE49-F238E27FC236}">
                <a16:creationId xmlns:a16="http://schemas.microsoft.com/office/drawing/2014/main" id="{2463F132-7B26-C696-C203-3E4A7C9DD6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47" y="62863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8" name="Kép 467" descr="A képen szöveg látható&#10;&#10;Automatikusan generált leírás">
            <a:extLst>
              <a:ext uri="{FF2B5EF4-FFF2-40B4-BE49-F238E27FC236}">
                <a16:creationId xmlns:a16="http://schemas.microsoft.com/office/drawing/2014/main" id="{8E15D19D-F9B8-8AA1-70F6-2EF835C6A7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682" y="54653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69" name="Kép 468">
            <a:extLst>
              <a:ext uri="{FF2B5EF4-FFF2-40B4-BE49-F238E27FC236}">
                <a16:creationId xmlns:a16="http://schemas.microsoft.com/office/drawing/2014/main" id="{BF534BA6-A6E2-7DE7-83BB-8835F359C7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4653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0" name="Kép 469">
            <a:extLst>
              <a:ext uri="{FF2B5EF4-FFF2-40B4-BE49-F238E27FC236}">
                <a16:creationId xmlns:a16="http://schemas.microsoft.com/office/drawing/2014/main" id="{F52C7A4C-A216-86CB-1A29-B328624C32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62859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1" name="Kép 470">
            <a:extLst>
              <a:ext uri="{FF2B5EF4-FFF2-40B4-BE49-F238E27FC236}">
                <a16:creationId xmlns:a16="http://schemas.microsoft.com/office/drawing/2014/main" id="{EF4AEFDE-D2F9-258D-C977-5F0378D84E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807" y="66971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2" name="Kép 471">
            <a:extLst>
              <a:ext uri="{FF2B5EF4-FFF2-40B4-BE49-F238E27FC236}">
                <a16:creationId xmlns:a16="http://schemas.microsoft.com/office/drawing/2014/main" id="{0A1A0D91-52BC-A17C-DE1D-4B2A32F741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569" y="66971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3" name="Kép 472">
            <a:extLst>
              <a:ext uri="{FF2B5EF4-FFF2-40B4-BE49-F238E27FC236}">
                <a16:creationId xmlns:a16="http://schemas.microsoft.com/office/drawing/2014/main" id="{E97DD67F-7283-80C0-A381-203A8F61C2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760" y="66971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4" name="Kép 473">
            <a:extLst>
              <a:ext uri="{FF2B5EF4-FFF2-40B4-BE49-F238E27FC236}">
                <a16:creationId xmlns:a16="http://schemas.microsoft.com/office/drawing/2014/main" id="{EDD2EEBD-77D6-635C-1BA5-1A730E3DB6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760" y="71069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5" name="Kép 474">
            <a:extLst>
              <a:ext uri="{FF2B5EF4-FFF2-40B4-BE49-F238E27FC236}">
                <a16:creationId xmlns:a16="http://schemas.microsoft.com/office/drawing/2014/main" id="{C9CF5623-0F0E-F195-36FD-A74F85C6C2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218" y="71069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6" name="Kép 475" descr="A képen szöveg látható&#10;&#10;Automatikusan generált leírás">
            <a:extLst>
              <a:ext uri="{FF2B5EF4-FFF2-40B4-BE49-F238E27FC236}">
                <a16:creationId xmlns:a16="http://schemas.microsoft.com/office/drawing/2014/main" id="{A589BEB5-C546-123C-ED26-FBB59BF1C06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053" y="62859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7" name="Kép 476">
            <a:extLst>
              <a:ext uri="{FF2B5EF4-FFF2-40B4-BE49-F238E27FC236}">
                <a16:creationId xmlns:a16="http://schemas.microsoft.com/office/drawing/2014/main" id="{899445EB-2FCA-10EC-26F9-1E35DC213B8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807" y="62859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8" name="Kép 477">
            <a:extLst>
              <a:ext uri="{FF2B5EF4-FFF2-40B4-BE49-F238E27FC236}">
                <a16:creationId xmlns:a16="http://schemas.microsoft.com/office/drawing/2014/main" id="{CEEB1025-8529-8617-6103-25909845C1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75" y="71069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79" name="Kép 478">
            <a:extLst>
              <a:ext uri="{FF2B5EF4-FFF2-40B4-BE49-F238E27FC236}">
                <a16:creationId xmlns:a16="http://schemas.microsoft.com/office/drawing/2014/main" id="{EE33A75A-D178-2857-EB76-44628D6247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00" y="71082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0" name="Kép 479">
            <a:extLst>
              <a:ext uri="{FF2B5EF4-FFF2-40B4-BE49-F238E27FC236}">
                <a16:creationId xmlns:a16="http://schemas.microsoft.com/office/drawing/2014/main" id="{4787BEF7-56CB-97A3-3702-7E7E12DE3A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" y="71082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1" name="Kép 480" descr="A képen szöveg látható&#10;&#10;Automatikusan generált leírás">
            <a:extLst>
              <a:ext uri="{FF2B5EF4-FFF2-40B4-BE49-F238E27FC236}">
                <a16:creationId xmlns:a16="http://schemas.microsoft.com/office/drawing/2014/main" id="{5E194D8A-8983-7543-7F90-42BE261A32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46" y="66971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2" name="Kép 481">
            <a:extLst>
              <a:ext uri="{FF2B5EF4-FFF2-40B4-BE49-F238E27FC236}">
                <a16:creationId xmlns:a16="http://schemas.microsoft.com/office/drawing/2014/main" id="{5E4A6317-1C66-EDED-676A-BC366F1684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00" y="66971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3" name="Kép 482">
            <a:extLst>
              <a:ext uri="{FF2B5EF4-FFF2-40B4-BE49-F238E27FC236}">
                <a16:creationId xmlns:a16="http://schemas.microsoft.com/office/drawing/2014/main" id="{E974CDE8-829A-9E6B-42AB-74993C01B1B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521" y="54656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4" name="Kép 483">
            <a:extLst>
              <a:ext uri="{FF2B5EF4-FFF2-40B4-BE49-F238E27FC236}">
                <a16:creationId xmlns:a16="http://schemas.microsoft.com/office/drawing/2014/main" id="{A3DDC9FB-5A94-5EA0-2E69-1211949D25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4656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5" name="Kép 484">
            <a:extLst>
              <a:ext uri="{FF2B5EF4-FFF2-40B4-BE49-F238E27FC236}">
                <a16:creationId xmlns:a16="http://schemas.microsoft.com/office/drawing/2014/main" id="{D59F3E4A-8F58-A0AF-FD60-656434BD76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8755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6" name="Kép 485">
            <a:extLst>
              <a:ext uri="{FF2B5EF4-FFF2-40B4-BE49-F238E27FC236}">
                <a16:creationId xmlns:a16="http://schemas.microsoft.com/office/drawing/2014/main" id="{3AE5AB98-8C7C-00E3-3FF0-1CC285FAAA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170" y="58755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7" name="Kép 486">
            <a:extLst>
              <a:ext uri="{FF2B5EF4-FFF2-40B4-BE49-F238E27FC236}">
                <a16:creationId xmlns:a16="http://schemas.microsoft.com/office/drawing/2014/main" id="{D27086D4-3691-09E3-C4AD-FA522E637B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627" y="58755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8" name="Kép 487">
            <a:extLst>
              <a:ext uri="{FF2B5EF4-FFF2-40B4-BE49-F238E27FC236}">
                <a16:creationId xmlns:a16="http://schemas.microsoft.com/office/drawing/2014/main" id="{2D025747-327C-AC29-F4C7-42C9D02F46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4656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89" name="Kép 488">
            <a:extLst>
              <a:ext uri="{FF2B5EF4-FFF2-40B4-BE49-F238E27FC236}">
                <a16:creationId xmlns:a16="http://schemas.microsoft.com/office/drawing/2014/main" id="{FA708F08-B841-5114-795E-1083887342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4656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0" name="Kép 489">
            <a:extLst>
              <a:ext uri="{FF2B5EF4-FFF2-40B4-BE49-F238E27FC236}">
                <a16:creationId xmlns:a16="http://schemas.microsoft.com/office/drawing/2014/main" id="{65440DCD-04C3-855D-8BEA-480CCFCA1E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8755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1" name="Kép 490">
            <a:extLst>
              <a:ext uri="{FF2B5EF4-FFF2-40B4-BE49-F238E27FC236}">
                <a16:creationId xmlns:a16="http://schemas.microsoft.com/office/drawing/2014/main" id="{481808A9-EEC1-86C2-78F4-05B65FCABB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904" y="58755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2" name="Kép 491">
            <a:extLst>
              <a:ext uri="{FF2B5EF4-FFF2-40B4-BE49-F238E27FC236}">
                <a16:creationId xmlns:a16="http://schemas.microsoft.com/office/drawing/2014/main" id="{6D489E05-8AD8-627E-B11B-23B350219B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8751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3" name="Kép 492">
            <a:extLst>
              <a:ext uri="{FF2B5EF4-FFF2-40B4-BE49-F238E27FC236}">
                <a16:creationId xmlns:a16="http://schemas.microsoft.com/office/drawing/2014/main" id="{950D4A08-F49A-F8BB-B204-C0FAB5F769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62863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4" name="Kép 493">
            <a:extLst>
              <a:ext uri="{FF2B5EF4-FFF2-40B4-BE49-F238E27FC236}">
                <a16:creationId xmlns:a16="http://schemas.microsoft.com/office/drawing/2014/main" id="{87C1233C-8369-33AF-BCE1-5A54C831F2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626" y="62863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5" name="Kép 494">
            <a:extLst>
              <a:ext uri="{FF2B5EF4-FFF2-40B4-BE49-F238E27FC236}">
                <a16:creationId xmlns:a16="http://schemas.microsoft.com/office/drawing/2014/main" id="{AE174173-CC31-4DCE-5D1B-083CF63C61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817" y="62863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6" name="Kép 495">
            <a:extLst>
              <a:ext uri="{FF2B5EF4-FFF2-40B4-BE49-F238E27FC236}">
                <a16:creationId xmlns:a16="http://schemas.microsoft.com/office/drawing/2014/main" id="{6A70784F-429D-0362-A0AD-CEFAF3ACDD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817" y="66961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7" name="Kép 496">
            <a:extLst>
              <a:ext uri="{FF2B5EF4-FFF2-40B4-BE49-F238E27FC236}">
                <a16:creationId xmlns:a16="http://schemas.microsoft.com/office/drawing/2014/main" id="{7AE92580-EF9C-187E-5348-BFD4B8DD7F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275" y="66961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8" name="Kép 497" descr="A képen szöveg látható&#10;&#10;Automatikusan generált leírás">
            <a:extLst>
              <a:ext uri="{FF2B5EF4-FFF2-40B4-BE49-F238E27FC236}">
                <a16:creationId xmlns:a16="http://schemas.microsoft.com/office/drawing/2014/main" id="{36992742-E393-5DB0-0F24-A7F8C1F497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110" y="58751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499" name="Kép 498">
            <a:extLst>
              <a:ext uri="{FF2B5EF4-FFF2-40B4-BE49-F238E27FC236}">
                <a16:creationId xmlns:a16="http://schemas.microsoft.com/office/drawing/2014/main" id="{BA879E1E-23D4-B8F6-F38B-064CA22B6F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58751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0" name="Kép 499">
            <a:extLst>
              <a:ext uri="{FF2B5EF4-FFF2-40B4-BE49-F238E27FC236}">
                <a16:creationId xmlns:a16="http://schemas.microsoft.com/office/drawing/2014/main" id="{1C92236C-EE6A-ED5D-632A-856D1496D3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732" y="66961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1" name="Kép 500">
            <a:extLst>
              <a:ext uri="{FF2B5EF4-FFF2-40B4-BE49-F238E27FC236}">
                <a16:creationId xmlns:a16="http://schemas.microsoft.com/office/drawing/2014/main" id="{43BAC54F-4AC5-FB8D-52E2-FFCF46A2C5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957" y="66974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2" name="Kép 501">
            <a:extLst>
              <a:ext uri="{FF2B5EF4-FFF2-40B4-BE49-F238E27FC236}">
                <a16:creationId xmlns:a16="http://schemas.microsoft.com/office/drawing/2014/main" id="{33409E89-4990-942C-84FA-037960B43C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910" y="66974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3" name="Kép 502" descr="A képen szöveg látható&#10;&#10;Automatikusan generált leírás">
            <a:extLst>
              <a:ext uri="{FF2B5EF4-FFF2-40B4-BE49-F238E27FC236}">
                <a16:creationId xmlns:a16="http://schemas.microsoft.com/office/drawing/2014/main" id="{51DF7B31-130F-5CE9-669A-EBC8D06FBD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203" y="62863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4" name="Kép 503">
            <a:extLst>
              <a:ext uri="{FF2B5EF4-FFF2-40B4-BE49-F238E27FC236}">
                <a16:creationId xmlns:a16="http://schemas.microsoft.com/office/drawing/2014/main" id="{6324231C-9415-535C-1F63-F311E34939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957" y="62863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5" name="Kép 504">
            <a:extLst>
              <a:ext uri="{FF2B5EF4-FFF2-40B4-BE49-F238E27FC236}">
                <a16:creationId xmlns:a16="http://schemas.microsoft.com/office/drawing/2014/main" id="{D6EB83B5-1076-40E3-940C-B7EAE226B9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769" y="54646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6" name="Kép 505">
            <a:extLst>
              <a:ext uri="{FF2B5EF4-FFF2-40B4-BE49-F238E27FC236}">
                <a16:creationId xmlns:a16="http://schemas.microsoft.com/office/drawing/2014/main" id="{27AA36BA-3A68-C55A-6F3C-1D2D9219BA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227" y="54646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7" name="Kép 506">
            <a:extLst>
              <a:ext uri="{FF2B5EF4-FFF2-40B4-BE49-F238E27FC236}">
                <a16:creationId xmlns:a16="http://schemas.microsoft.com/office/drawing/2014/main" id="{71115E4C-BA5B-BE07-BA5D-71C5903932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84" y="54646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8" name="Kép 507">
            <a:extLst>
              <a:ext uri="{FF2B5EF4-FFF2-40B4-BE49-F238E27FC236}">
                <a16:creationId xmlns:a16="http://schemas.microsoft.com/office/drawing/2014/main" id="{7FF700FE-E0DA-51EC-FFD8-78871C9C45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173" y="75174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09" name="Kép 508">
            <a:extLst>
              <a:ext uri="{FF2B5EF4-FFF2-40B4-BE49-F238E27FC236}">
                <a16:creationId xmlns:a16="http://schemas.microsoft.com/office/drawing/2014/main" id="{1317120C-F242-68A1-0893-220877F927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126" y="75174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0" name="Kép 509">
            <a:extLst>
              <a:ext uri="{FF2B5EF4-FFF2-40B4-BE49-F238E27FC236}">
                <a16:creationId xmlns:a16="http://schemas.microsoft.com/office/drawing/2014/main" id="{600AD722-64F4-59C8-4440-EDD4AAF2AD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126" y="792735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1" name="Kép 510">
            <a:extLst>
              <a:ext uri="{FF2B5EF4-FFF2-40B4-BE49-F238E27FC236}">
                <a16:creationId xmlns:a16="http://schemas.microsoft.com/office/drawing/2014/main" id="{F9FC47CD-EB76-6816-EA35-5C36008F80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584" y="792735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2" name="Kép 511" descr="A képen szöveg látható&#10;&#10;Automatikusan generált leírás">
            <a:extLst>
              <a:ext uri="{FF2B5EF4-FFF2-40B4-BE49-F238E27FC236}">
                <a16:creationId xmlns:a16="http://schemas.microsoft.com/office/drawing/2014/main" id="{E409008D-A1A4-AA26-3976-BE25C70EDE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5419" y="71063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3" name="Kép 512">
            <a:extLst>
              <a:ext uri="{FF2B5EF4-FFF2-40B4-BE49-F238E27FC236}">
                <a16:creationId xmlns:a16="http://schemas.microsoft.com/office/drawing/2014/main" id="{583FBD07-6D2E-D119-EB05-42918403DE4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173" y="71063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4" name="Kép 513">
            <a:extLst>
              <a:ext uri="{FF2B5EF4-FFF2-40B4-BE49-F238E27FC236}">
                <a16:creationId xmlns:a16="http://schemas.microsoft.com/office/drawing/2014/main" id="{775F3991-F6DB-CB6A-4A36-423814A8E8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173" y="79270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5" name="Kép 514">
            <a:extLst>
              <a:ext uri="{FF2B5EF4-FFF2-40B4-BE49-F238E27FC236}">
                <a16:creationId xmlns:a16="http://schemas.microsoft.com/office/drawing/2014/main" id="{7D83C8F2-ACC7-334F-148A-774F77232C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544" y="83381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6" name="Kép 515">
            <a:extLst>
              <a:ext uri="{FF2B5EF4-FFF2-40B4-BE49-F238E27FC236}">
                <a16:creationId xmlns:a16="http://schemas.microsoft.com/office/drawing/2014/main" id="{70D06B09-F845-CB04-64D4-E91A4A9DB5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0306" y="83381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7" name="Kép 516">
            <a:extLst>
              <a:ext uri="{FF2B5EF4-FFF2-40B4-BE49-F238E27FC236}">
                <a16:creationId xmlns:a16="http://schemas.microsoft.com/office/drawing/2014/main" id="{3C8F0F1F-8260-A528-4C87-2E32D45123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497" y="83381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8" name="Kép 517">
            <a:extLst>
              <a:ext uri="{FF2B5EF4-FFF2-40B4-BE49-F238E27FC236}">
                <a16:creationId xmlns:a16="http://schemas.microsoft.com/office/drawing/2014/main" id="{0D212D47-0C10-67E6-F949-F523E64884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497" y="87480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19" name="Kép 518">
            <a:extLst>
              <a:ext uri="{FF2B5EF4-FFF2-40B4-BE49-F238E27FC236}">
                <a16:creationId xmlns:a16="http://schemas.microsoft.com/office/drawing/2014/main" id="{C2CE532D-D0AC-BFE1-F7DB-D7E5B64D57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955" y="87480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0" name="Kép 519" descr="A képen szöveg látható&#10;&#10;Automatikusan generált leírás">
            <a:extLst>
              <a:ext uri="{FF2B5EF4-FFF2-40B4-BE49-F238E27FC236}">
                <a16:creationId xmlns:a16="http://schemas.microsoft.com/office/drawing/2014/main" id="{1A893FB9-BC15-0FD9-5AF2-A6AFEE60D0E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790" y="79270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1" name="Kép 520">
            <a:extLst>
              <a:ext uri="{FF2B5EF4-FFF2-40B4-BE49-F238E27FC236}">
                <a16:creationId xmlns:a16="http://schemas.microsoft.com/office/drawing/2014/main" id="{801E361E-BDF8-8D52-A099-F05F59E6C9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544" y="79270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2" name="Kép 521">
            <a:extLst>
              <a:ext uri="{FF2B5EF4-FFF2-40B4-BE49-F238E27FC236}">
                <a16:creationId xmlns:a16="http://schemas.microsoft.com/office/drawing/2014/main" id="{B3DCA770-8D6A-E88D-37CD-A5C3C373A6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412" y="87480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3" name="Kép 522">
            <a:extLst>
              <a:ext uri="{FF2B5EF4-FFF2-40B4-BE49-F238E27FC236}">
                <a16:creationId xmlns:a16="http://schemas.microsoft.com/office/drawing/2014/main" id="{042725AC-0412-9A77-CDAC-3A3E3AF1D4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37" y="87492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4" name="Kép 523">
            <a:extLst>
              <a:ext uri="{FF2B5EF4-FFF2-40B4-BE49-F238E27FC236}">
                <a16:creationId xmlns:a16="http://schemas.microsoft.com/office/drawing/2014/main" id="{DFD098E3-9768-22A2-D013-6F64019D92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90" y="87492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5" name="Kép 524" descr="A képen szöveg látható&#10;&#10;Automatikusan generált leírás">
            <a:extLst>
              <a:ext uri="{FF2B5EF4-FFF2-40B4-BE49-F238E27FC236}">
                <a16:creationId xmlns:a16="http://schemas.microsoft.com/office/drawing/2014/main" id="{281EBEFF-075F-67A6-068C-E8DF65192D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883" y="83381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6" name="Kép 525">
            <a:extLst>
              <a:ext uri="{FF2B5EF4-FFF2-40B4-BE49-F238E27FC236}">
                <a16:creationId xmlns:a16="http://schemas.microsoft.com/office/drawing/2014/main" id="{2A1C9FE7-BCE4-BD22-76D4-4EA9885F4BA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37" y="83381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7" name="Kép 526">
            <a:extLst>
              <a:ext uri="{FF2B5EF4-FFF2-40B4-BE49-F238E27FC236}">
                <a16:creationId xmlns:a16="http://schemas.microsoft.com/office/drawing/2014/main" id="{0BE8E037-5876-4F20-DB12-935942BFE1E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258" y="71066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8" name="Kép 527">
            <a:extLst>
              <a:ext uri="{FF2B5EF4-FFF2-40B4-BE49-F238E27FC236}">
                <a16:creationId xmlns:a16="http://schemas.microsoft.com/office/drawing/2014/main" id="{B1291C59-5FDC-B5A9-2C5C-8DE2523410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449" y="710667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29" name="Kép 528">
            <a:extLst>
              <a:ext uri="{FF2B5EF4-FFF2-40B4-BE49-F238E27FC236}">
                <a16:creationId xmlns:a16="http://schemas.microsoft.com/office/drawing/2014/main" id="{059744B4-D36E-6B4F-FA2B-F904BF151C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449" y="75165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0" name="Kép 529">
            <a:extLst>
              <a:ext uri="{FF2B5EF4-FFF2-40B4-BE49-F238E27FC236}">
                <a16:creationId xmlns:a16="http://schemas.microsoft.com/office/drawing/2014/main" id="{C76D7F2B-CF7F-BC23-052C-CD58CDAA79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907" y="75165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1" name="Kép 530">
            <a:extLst>
              <a:ext uri="{FF2B5EF4-FFF2-40B4-BE49-F238E27FC236}">
                <a16:creationId xmlns:a16="http://schemas.microsoft.com/office/drawing/2014/main" id="{1275BA9F-36BB-7CDC-5E4B-DA0AE4ADF3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364" y="75165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2" name="Kép 531">
            <a:extLst>
              <a:ext uri="{FF2B5EF4-FFF2-40B4-BE49-F238E27FC236}">
                <a16:creationId xmlns:a16="http://schemas.microsoft.com/office/drawing/2014/main" id="{FB305046-891D-AEA2-C764-7368A7D9F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" y="75153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3" name="Kép 532">
            <a:extLst>
              <a:ext uri="{FF2B5EF4-FFF2-40B4-BE49-F238E27FC236}">
                <a16:creationId xmlns:a16="http://schemas.microsoft.com/office/drawing/2014/main" id="{CE998BCF-1E28-52BB-97BD-605CF28F7F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6443" y="75153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4" name="Kép 533">
            <a:extLst>
              <a:ext uri="{FF2B5EF4-FFF2-40B4-BE49-F238E27FC236}">
                <a16:creationId xmlns:a16="http://schemas.microsoft.com/office/drawing/2014/main" id="{ED006081-5718-A46A-1719-89DA0B5778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6443" y="79252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5" name="Kép 534">
            <a:extLst>
              <a:ext uri="{FF2B5EF4-FFF2-40B4-BE49-F238E27FC236}">
                <a16:creationId xmlns:a16="http://schemas.microsoft.com/office/drawing/2014/main" id="{C1675F4A-DDFF-A2FE-EAE1-3F86C71F4E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7985" y="79252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6" name="Kép 535">
            <a:extLst>
              <a:ext uri="{FF2B5EF4-FFF2-40B4-BE49-F238E27FC236}">
                <a16:creationId xmlns:a16="http://schemas.microsoft.com/office/drawing/2014/main" id="{A0E75F6E-7EF1-D395-BA4C-BF9C20EB16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" y="792489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7" name="Kép 536">
            <a:extLst>
              <a:ext uri="{FF2B5EF4-FFF2-40B4-BE49-F238E27FC236}">
                <a16:creationId xmlns:a16="http://schemas.microsoft.com/office/drawing/2014/main" id="{7F0A4DD0-5F54-A21D-68C1-47ED93B089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75" y="83360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8" name="Kép 537">
            <a:extLst>
              <a:ext uri="{FF2B5EF4-FFF2-40B4-BE49-F238E27FC236}">
                <a16:creationId xmlns:a16="http://schemas.microsoft.com/office/drawing/2014/main" id="{798B8EC1-C9CE-4B9F-2C52-87AE9CEAE2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7263" y="83360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39" name="Kép 538">
            <a:extLst>
              <a:ext uri="{FF2B5EF4-FFF2-40B4-BE49-F238E27FC236}">
                <a16:creationId xmlns:a16="http://schemas.microsoft.com/office/drawing/2014/main" id="{84B69D76-60F4-5A49-3737-F824CBEF18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" y="83360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0" name="Kép 539">
            <a:extLst>
              <a:ext uri="{FF2B5EF4-FFF2-40B4-BE49-F238E27FC236}">
                <a16:creationId xmlns:a16="http://schemas.microsoft.com/office/drawing/2014/main" id="{6D3449FA-AD1B-9B40-7B7E-B0CE709F8E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" y="8745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1" name="Kép 540">
            <a:extLst>
              <a:ext uri="{FF2B5EF4-FFF2-40B4-BE49-F238E27FC236}">
                <a16:creationId xmlns:a16="http://schemas.microsoft.com/office/drawing/2014/main" id="{5D3F4CD2-2FD8-26DA-0D25-2CA9FD71EE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8614" y="8745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2" name="Kép 541" descr="A képen szöveg látható&#10;&#10;Automatikusan generált leírás">
            <a:extLst>
              <a:ext uri="{FF2B5EF4-FFF2-40B4-BE49-F238E27FC236}">
                <a16:creationId xmlns:a16="http://schemas.microsoft.com/office/drawing/2014/main" id="{25325FB5-6130-6588-A1A6-A7025E234E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21" y="792489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3" name="Kép 542">
            <a:extLst>
              <a:ext uri="{FF2B5EF4-FFF2-40B4-BE49-F238E27FC236}">
                <a16:creationId xmlns:a16="http://schemas.microsoft.com/office/drawing/2014/main" id="{DFE41AF6-B2E9-47A6-783F-EDC25BF038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75" y="792489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4" name="Kép 543">
            <a:extLst>
              <a:ext uri="{FF2B5EF4-FFF2-40B4-BE49-F238E27FC236}">
                <a16:creationId xmlns:a16="http://schemas.microsoft.com/office/drawing/2014/main" id="{AE70337A-5C54-EE97-11D2-8F1B4081F6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0157" y="8745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5" name="Kép 544">
            <a:extLst>
              <a:ext uri="{FF2B5EF4-FFF2-40B4-BE49-F238E27FC236}">
                <a16:creationId xmlns:a16="http://schemas.microsoft.com/office/drawing/2014/main" id="{320CCEF3-B7E0-D5BA-CA11-E2D1A6AA17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8932" y="87471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6" name="Kép 545">
            <a:extLst>
              <a:ext uri="{FF2B5EF4-FFF2-40B4-BE49-F238E27FC236}">
                <a16:creationId xmlns:a16="http://schemas.microsoft.com/office/drawing/2014/main" id="{57400964-3768-73CF-40A7-D036C28BEE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38979" y="87471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7" name="Kép 546" descr="A képen szöveg látható&#10;&#10;Automatikusan generált leírás">
            <a:extLst>
              <a:ext uri="{FF2B5EF4-FFF2-40B4-BE49-F238E27FC236}">
                <a16:creationId xmlns:a16="http://schemas.microsoft.com/office/drawing/2014/main" id="{BA46A98A-9AF3-F3B3-1FD3-079145D6E0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4686" y="83360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8" name="Kép 547">
            <a:extLst>
              <a:ext uri="{FF2B5EF4-FFF2-40B4-BE49-F238E27FC236}">
                <a16:creationId xmlns:a16="http://schemas.microsoft.com/office/drawing/2014/main" id="{48B19FCE-3F44-A52E-DF98-CC1460C074F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8932" y="83360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49" name="Kép 548">
            <a:extLst>
              <a:ext uri="{FF2B5EF4-FFF2-40B4-BE49-F238E27FC236}">
                <a16:creationId xmlns:a16="http://schemas.microsoft.com/office/drawing/2014/main" id="{EE902E0B-6964-5524-3D7E-831B2EAC47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880" y="75144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0" name="Kép 549">
            <a:extLst>
              <a:ext uri="{FF2B5EF4-FFF2-40B4-BE49-F238E27FC236}">
                <a16:creationId xmlns:a16="http://schemas.microsoft.com/office/drawing/2014/main" id="{EAA49E4C-AFC0-2EE1-ADA1-E0B3ED363E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338" y="75144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1" name="Kép 550">
            <a:extLst>
              <a:ext uri="{FF2B5EF4-FFF2-40B4-BE49-F238E27FC236}">
                <a16:creationId xmlns:a16="http://schemas.microsoft.com/office/drawing/2014/main" id="{A31F3201-F08E-7100-976D-AA457E470D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95" y="75144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2" name="Kép 551">
            <a:extLst>
              <a:ext uri="{FF2B5EF4-FFF2-40B4-BE49-F238E27FC236}">
                <a16:creationId xmlns:a16="http://schemas.microsoft.com/office/drawing/2014/main" id="{297DEF72-3B21-8D67-005D-9C6EBA0D24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133" y="71063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3" name="Kép 552">
            <a:extLst>
              <a:ext uri="{FF2B5EF4-FFF2-40B4-BE49-F238E27FC236}">
                <a16:creationId xmlns:a16="http://schemas.microsoft.com/office/drawing/2014/main" id="{7724CEA5-E433-F6DD-B90F-6618B7F96A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13" y="17546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4" name="Kép 553">
            <a:extLst>
              <a:ext uri="{FF2B5EF4-FFF2-40B4-BE49-F238E27FC236}">
                <a16:creationId xmlns:a16="http://schemas.microsoft.com/office/drawing/2014/main" id="{22124EA5-48A6-7EF4-AC11-A2D03B2586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166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5" name="Kép 554">
            <a:extLst>
              <a:ext uri="{FF2B5EF4-FFF2-40B4-BE49-F238E27FC236}">
                <a16:creationId xmlns:a16="http://schemas.microsoft.com/office/drawing/2014/main" id="{59D84182-CBC3-1721-00E5-EDB414C475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166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6" name="Kép 555">
            <a:extLst>
              <a:ext uri="{FF2B5EF4-FFF2-40B4-BE49-F238E27FC236}">
                <a16:creationId xmlns:a16="http://schemas.microsoft.com/office/drawing/2014/main" id="{93E2AFDF-9A0B-53DD-EEDF-53A6801506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5765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7" name="Kép 556">
            <a:extLst>
              <a:ext uri="{FF2B5EF4-FFF2-40B4-BE49-F238E27FC236}">
                <a16:creationId xmlns:a16="http://schemas.microsoft.com/office/drawing/2014/main" id="{6A07C7CA-BA08-56F2-F293-6470A0E6AC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052" y="25765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8" name="Kép 557" descr="A képen szöveg látható&#10;&#10;Automatikusan generált leírás">
            <a:extLst>
              <a:ext uri="{FF2B5EF4-FFF2-40B4-BE49-F238E27FC236}">
                <a16:creationId xmlns:a16="http://schemas.microsoft.com/office/drawing/2014/main" id="{298B1474-2A20-F3DA-CFAB-B2A7C1BB60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887" y="17556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59" name="Kép 558">
            <a:extLst>
              <a:ext uri="{FF2B5EF4-FFF2-40B4-BE49-F238E27FC236}">
                <a16:creationId xmlns:a16="http://schemas.microsoft.com/office/drawing/2014/main" id="{0DF2E413-6F54-EB28-D4CC-3D79920B11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175560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0" name="Kép 559">
            <a:extLst>
              <a:ext uri="{FF2B5EF4-FFF2-40B4-BE49-F238E27FC236}">
                <a16:creationId xmlns:a16="http://schemas.microsoft.com/office/drawing/2014/main" id="{BD4BF267-EEA1-6D1F-8160-1C943C4F31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5762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1" name="Kép 560">
            <a:extLst>
              <a:ext uri="{FF2B5EF4-FFF2-40B4-BE49-F238E27FC236}">
                <a16:creationId xmlns:a16="http://schemas.microsoft.com/office/drawing/2014/main" id="{7004BC00-4E8A-A210-41B4-8ADC5FBA7F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987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2" name="Kép 561">
            <a:extLst>
              <a:ext uri="{FF2B5EF4-FFF2-40B4-BE49-F238E27FC236}">
                <a16:creationId xmlns:a16="http://schemas.microsoft.com/office/drawing/2014/main" id="{5E410D30-D333-9B03-5DEA-DA82B4CE058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774" y="2987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3" name="Kép 562">
            <a:extLst>
              <a:ext uri="{FF2B5EF4-FFF2-40B4-BE49-F238E27FC236}">
                <a16:creationId xmlns:a16="http://schemas.microsoft.com/office/drawing/2014/main" id="{9800F2E5-0271-B766-6EA2-EED03EB135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2987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4" name="Kép 563">
            <a:extLst>
              <a:ext uri="{FF2B5EF4-FFF2-40B4-BE49-F238E27FC236}">
                <a16:creationId xmlns:a16="http://schemas.microsoft.com/office/drawing/2014/main" id="{692CEB75-E1C7-A9BC-CAAE-AA4C6D9615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33972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5" name="Kép 564">
            <a:extLst>
              <a:ext uri="{FF2B5EF4-FFF2-40B4-BE49-F238E27FC236}">
                <a16:creationId xmlns:a16="http://schemas.microsoft.com/office/drawing/2014/main" id="{1338D83C-A221-9C97-DCA5-BE17400F1B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" y="33972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6" name="Kép 565" descr="A képen szöveg látható&#10;&#10;Automatikusan generált leírás">
            <a:extLst>
              <a:ext uri="{FF2B5EF4-FFF2-40B4-BE49-F238E27FC236}">
                <a16:creationId xmlns:a16="http://schemas.microsoft.com/office/drawing/2014/main" id="{442535D6-B349-0D80-A3A5-61AAE3886E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258" y="25762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7" name="Kép 566">
            <a:extLst>
              <a:ext uri="{FF2B5EF4-FFF2-40B4-BE49-F238E27FC236}">
                <a16:creationId xmlns:a16="http://schemas.microsoft.com/office/drawing/2014/main" id="{7C94E722-664C-3EA4-FBA2-1FC8B07A2B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5762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8" name="Kép 567">
            <a:extLst>
              <a:ext uri="{FF2B5EF4-FFF2-40B4-BE49-F238E27FC236}">
                <a16:creationId xmlns:a16="http://schemas.microsoft.com/office/drawing/2014/main" id="{E57B2C80-01CA-9EE8-544F-E2371DA721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80" y="33972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69" name="Kép 568">
            <a:extLst>
              <a:ext uri="{FF2B5EF4-FFF2-40B4-BE49-F238E27FC236}">
                <a16:creationId xmlns:a16="http://schemas.microsoft.com/office/drawing/2014/main" id="{2DB4C304-C381-C9C9-96B7-7B6C6EB2F9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95" y="339851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0" name="Kép 569">
            <a:extLst>
              <a:ext uri="{FF2B5EF4-FFF2-40B4-BE49-F238E27FC236}">
                <a16:creationId xmlns:a16="http://schemas.microsoft.com/office/drawing/2014/main" id="{EE068B82-CBB7-0BD2-F106-47E5BF7040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942" y="339851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1" name="Kép 570" descr="A képen szöveg látható&#10;&#10;Automatikusan generált leírás">
            <a:extLst>
              <a:ext uri="{FF2B5EF4-FFF2-40B4-BE49-F238E27FC236}">
                <a16:creationId xmlns:a16="http://schemas.microsoft.com/office/drawing/2014/main" id="{E8A661A9-B926-88F5-4676-427BEC842E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51" y="2987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2" name="Kép 571">
            <a:extLst>
              <a:ext uri="{FF2B5EF4-FFF2-40B4-BE49-F238E27FC236}">
                <a16:creationId xmlns:a16="http://schemas.microsoft.com/office/drawing/2014/main" id="{E184E6E4-E943-9628-7325-61CD2C92D57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95" y="2987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3" name="Kép 572">
            <a:extLst>
              <a:ext uri="{FF2B5EF4-FFF2-40B4-BE49-F238E27FC236}">
                <a16:creationId xmlns:a16="http://schemas.microsoft.com/office/drawing/2014/main" id="{B0FFBDAA-F3BE-C272-224E-6E20D15AEA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726" y="1755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4" name="Kép 573">
            <a:extLst>
              <a:ext uri="{FF2B5EF4-FFF2-40B4-BE49-F238E27FC236}">
                <a16:creationId xmlns:a16="http://schemas.microsoft.com/office/drawing/2014/main" id="{2A66342A-6920-4C6E-CB4D-0E1509699B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1755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5" name="Kép 574">
            <a:extLst>
              <a:ext uri="{FF2B5EF4-FFF2-40B4-BE49-F238E27FC236}">
                <a16:creationId xmlns:a16="http://schemas.microsoft.com/office/drawing/2014/main" id="{063C3B5D-CAE0-A2FA-4A85-131B8DB41A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2165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6" name="Kép 575">
            <a:extLst>
              <a:ext uri="{FF2B5EF4-FFF2-40B4-BE49-F238E27FC236}">
                <a16:creationId xmlns:a16="http://schemas.microsoft.com/office/drawing/2014/main" id="{59912021-E6C9-DEBE-3A8A-788C7192ED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375" y="2165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7" name="Kép 576">
            <a:extLst>
              <a:ext uri="{FF2B5EF4-FFF2-40B4-BE49-F238E27FC236}">
                <a16:creationId xmlns:a16="http://schemas.microsoft.com/office/drawing/2014/main" id="{1F511FAB-1AB9-5D44-7A2F-817A54B0DE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832" y="2165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8" name="Kép 577">
            <a:extLst>
              <a:ext uri="{FF2B5EF4-FFF2-40B4-BE49-F238E27FC236}">
                <a16:creationId xmlns:a16="http://schemas.microsoft.com/office/drawing/2014/main" id="{C8CB60F3-31C4-EC46-C498-147DA23AA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1755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79" name="Kép 578">
            <a:extLst>
              <a:ext uri="{FF2B5EF4-FFF2-40B4-BE49-F238E27FC236}">
                <a16:creationId xmlns:a16="http://schemas.microsoft.com/office/drawing/2014/main" id="{8473219A-3B16-DA43-9678-047742BF77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1755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0" name="Kép 579">
            <a:extLst>
              <a:ext uri="{FF2B5EF4-FFF2-40B4-BE49-F238E27FC236}">
                <a16:creationId xmlns:a16="http://schemas.microsoft.com/office/drawing/2014/main" id="{660EE365-F347-2F17-7A74-1BA951AAAC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2165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1" name="Kép 580">
            <a:extLst>
              <a:ext uri="{FF2B5EF4-FFF2-40B4-BE49-F238E27FC236}">
                <a16:creationId xmlns:a16="http://schemas.microsoft.com/office/drawing/2014/main" id="{89345C73-43CF-F073-485F-FBCDA2F22F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109" y="2165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2" name="Kép 581">
            <a:extLst>
              <a:ext uri="{FF2B5EF4-FFF2-40B4-BE49-F238E27FC236}">
                <a16:creationId xmlns:a16="http://schemas.microsoft.com/office/drawing/2014/main" id="{1CDF1D73-0CC5-A616-A0A1-23406CA39C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2165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3" name="Kép 582">
            <a:extLst>
              <a:ext uri="{FF2B5EF4-FFF2-40B4-BE49-F238E27FC236}">
                <a16:creationId xmlns:a16="http://schemas.microsoft.com/office/drawing/2014/main" id="{B4C8E9DB-328F-64B8-B320-B1184524F8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576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4" name="Kép 583">
            <a:extLst>
              <a:ext uri="{FF2B5EF4-FFF2-40B4-BE49-F238E27FC236}">
                <a16:creationId xmlns:a16="http://schemas.microsoft.com/office/drawing/2014/main" id="{CAC9E9C1-040E-E1E1-5224-FBBD5944E7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831" y="2576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5" name="Kép 584">
            <a:extLst>
              <a:ext uri="{FF2B5EF4-FFF2-40B4-BE49-F238E27FC236}">
                <a16:creationId xmlns:a16="http://schemas.microsoft.com/office/drawing/2014/main" id="{6B9F8B0F-B2D5-719D-54D2-27625590F9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576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6" name="Kép 585">
            <a:extLst>
              <a:ext uri="{FF2B5EF4-FFF2-40B4-BE49-F238E27FC236}">
                <a16:creationId xmlns:a16="http://schemas.microsoft.com/office/drawing/2014/main" id="{1FFE260E-FEC8-3200-98BD-69B0ADB1F1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986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7" name="Kép 586">
            <a:extLst>
              <a:ext uri="{FF2B5EF4-FFF2-40B4-BE49-F238E27FC236}">
                <a16:creationId xmlns:a16="http://schemas.microsoft.com/office/drawing/2014/main" id="{0E23BF31-9D9C-1868-F8B5-87E9186C865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480" y="2986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8" name="Kép 587" descr="A képen szöveg látható&#10;&#10;Automatikusan generált leírás">
            <a:extLst>
              <a:ext uri="{FF2B5EF4-FFF2-40B4-BE49-F238E27FC236}">
                <a16:creationId xmlns:a16="http://schemas.microsoft.com/office/drawing/2014/main" id="{5E7271E5-50B6-9C93-63DA-5C674CD782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315" y="2165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89" name="Kép 588">
            <a:extLst>
              <a:ext uri="{FF2B5EF4-FFF2-40B4-BE49-F238E27FC236}">
                <a16:creationId xmlns:a16="http://schemas.microsoft.com/office/drawing/2014/main" id="{BF391148-0ECE-8DCB-6B5D-0BFCAAEB4B9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165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0" name="Kép 589">
            <a:extLst>
              <a:ext uri="{FF2B5EF4-FFF2-40B4-BE49-F238E27FC236}">
                <a16:creationId xmlns:a16="http://schemas.microsoft.com/office/drawing/2014/main" id="{FE8DBDF0-D8C6-1AA3-BE43-FC8C09869F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937" y="2986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1" name="Kép 590">
            <a:extLst>
              <a:ext uri="{FF2B5EF4-FFF2-40B4-BE49-F238E27FC236}">
                <a16:creationId xmlns:a16="http://schemas.microsoft.com/office/drawing/2014/main" id="{7E3EF4C0-D0B8-4218-E3F4-E6F29A9CA1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9877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2" name="Kép 591">
            <a:extLst>
              <a:ext uri="{FF2B5EF4-FFF2-40B4-BE49-F238E27FC236}">
                <a16:creationId xmlns:a16="http://schemas.microsoft.com/office/drawing/2014/main" id="{1A9C5EB5-343A-1D0E-A5A7-ECFF966EFB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115" y="29877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3" name="Kép 592" descr="A képen szöveg látható&#10;&#10;Automatikusan generált leírás">
            <a:extLst>
              <a:ext uri="{FF2B5EF4-FFF2-40B4-BE49-F238E27FC236}">
                <a16:creationId xmlns:a16="http://schemas.microsoft.com/office/drawing/2014/main" id="{BD1F23DC-F6B1-EF89-42D7-073F86A97E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408" y="2576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4" name="Kép 593">
            <a:extLst>
              <a:ext uri="{FF2B5EF4-FFF2-40B4-BE49-F238E27FC236}">
                <a16:creationId xmlns:a16="http://schemas.microsoft.com/office/drawing/2014/main" id="{2EA52231-3E29-2EFC-E30E-823FF68F13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576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5" name="Kép 594">
            <a:extLst>
              <a:ext uri="{FF2B5EF4-FFF2-40B4-BE49-F238E27FC236}">
                <a16:creationId xmlns:a16="http://schemas.microsoft.com/office/drawing/2014/main" id="{9F883B84-FA7E-4560-8E2B-B1DC6072EA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974" y="1754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6" name="Kép 595">
            <a:extLst>
              <a:ext uri="{FF2B5EF4-FFF2-40B4-BE49-F238E27FC236}">
                <a16:creationId xmlns:a16="http://schemas.microsoft.com/office/drawing/2014/main" id="{AD5766B2-3B2F-859B-B852-CCDED174BA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432" y="1754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7" name="Kép 596">
            <a:extLst>
              <a:ext uri="{FF2B5EF4-FFF2-40B4-BE49-F238E27FC236}">
                <a16:creationId xmlns:a16="http://schemas.microsoft.com/office/drawing/2014/main" id="{FF282196-11DD-8A24-1444-4C9D4A9A97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889" y="1754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8" name="Kép 597">
            <a:extLst>
              <a:ext uri="{FF2B5EF4-FFF2-40B4-BE49-F238E27FC236}">
                <a16:creationId xmlns:a16="http://schemas.microsoft.com/office/drawing/2014/main" id="{6F021571-08DF-37FE-AD13-77F023FABB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8077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99" name="Kép 598">
            <a:extLst>
              <a:ext uri="{FF2B5EF4-FFF2-40B4-BE49-F238E27FC236}">
                <a16:creationId xmlns:a16="http://schemas.microsoft.com/office/drawing/2014/main" id="{77E1E943-1714-07A7-A6D8-2FCE1A74BA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38077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0" name="Kép 599">
            <a:extLst>
              <a:ext uri="{FF2B5EF4-FFF2-40B4-BE49-F238E27FC236}">
                <a16:creationId xmlns:a16="http://schemas.microsoft.com/office/drawing/2014/main" id="{D3919900-B55F-6204-C6B8-929ECEFAE0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42176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1" name="Kép 600">
            <a:extLst>
              <a:ext uri="{FF2B5EF4-FFF2-40B4-BE49-F238E27FC236}">
                <a16:creationId xmlns:a16="http://schemas.microsoft.com/office/drawing/2014/main" id="{83F58C95-E26E-B84B-1296-47963ED23E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89" y="42176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2" name="Kép 601" descr="A képen szöveg látható&#10;&#10;Automatikusan generált leírás">
            <a:extLst>
              <a:ext uri="{FF2B5EF4-FFF2-40B4-BE49-F238E27FC236}">
                <a16:creationId xmlns:a16="http://schemas.microsoft.com/office/drawing/2014/main" id="{8B5800C2-A911-00F4-F433-17F41C9C94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624" y="3396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3" name="Kép 602">
            <a:extLst>
              <a:ext uri="{FF2B5EF4-FFF2-40B4-BE49-F238E27FC236}">
                <a16:creationId xmlns:a16="http://schemas.microsoft.com/office/drawing/2014/main" id="{A1D725A5-20C0-4748-5AE4-F3E549BDDD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396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4" name="Kép 603">
            <a:extLst>
              <a:ext uri="{FF2B5EF4-FFF2-40B4-BE49-F238E27FC236}">
                <a16:creationId xmlns:a16="http://schemas.microsoft.com/office/drawing/2014/main" id="{6AED0158-3824-9DE6-ADAB-7EB05D8138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42173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5" name="Kép 604">
            <a:extLst>
              <a:ext uri="{FF2B5EF4-FFF2-40B4-BE49-F238E27FC236}">
                <a16:creationId xmlns:a16="http://schemas.microsoft.com/office/drawing/2014/main" id="{01263574-5348-CCF2-2246-1FDA51C8F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6284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6" name="Kép 605">
            <a:extLst>
              <a:ext uri="{FF2B5EF4-FFF2-40B4-BE49-F238E27FC236}">
                <a16:creationId xmlns:a16="http://schemas.microsoft.com/office/drawing/2014/main" id="{0504AB0F-3692-FA9F-A59E-976FB85CDC3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511" y="46284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7" name="Kép 606">
            <a:extLst>
              <a:ext uri="{FF2B5EF4-FFF2-40B4-BE49-F238E27FC236}">
                <a16:creationId xmlns:a16="http://schemas.microsoft.com/office/drawing/2014/main" id="{C4863AF9-3215-209A-F79F-5E42EA1809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46284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8" name="Kép 607">
            <a:extLst>
              <a:ext uri="{FF2B5EF4-FFF2-40B4-BE49-F238E27FC236}">
                <a16:creationId xmlns:a16="http://schemas.microsoft.com/office/drawing/2014/main" id="{5AE283A9-759D-D331-D47C-6D3D954149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50383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09" name="Kép 608">
            <a:extLst>
              <a:ext uri="{FF2B5EF4-FFF2-40B4-BE49-F238E27FC236}">
                <a16:creationId xmlns:a16="http://schemas.microsoft.com/office/drawing/2014/main" id="{9B4C2CE4-40FC-5529-967A-2482E4E2A7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160" y="50383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0" name="Kép 609" descr="A képen szöveg látható&#10;&#10;Automatikusan generált leírás">
            <a:extLst>
              <a:ext uri="{FF2B5EF4-FFF2-40B4-BE49-F238E27FC236}">
                <a16:creationId xmlns:a16="http://schemas.microsoft.com/office/drawing/2014/main" id="{E28500AF-5ED3-3DCA-4356-D09619C6A9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995" y="42173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1" name="Kép 610">
            <a:extLst>
              <a:ext uri="{FF2B5EF4-FFF2-40B4-BE49-F238E27FC236}">
                <a16:creationId xmlns:a16="http://schemas.microsoft.com/office/drawing/2014/main" id="{6DDAC598-6E56-07A0-FC66-060BA21D29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21732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2" name="Kép 611">
            <a:extLst>
              <a:ext uri="{FF2B5EF4-FFF2-40B4-BE49-F238E27FC236}">
                <a16:creationId xmlns:a16="http://schemas.microsoft.com/office/drawing/2014/main" id="{8FDDF4FE-495A-EBDC-5FD7-2E023CD9A5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17" y="50383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3" name="Kép 612">
            <a:extLst>
              <a:ext uri="{FF2B5EF4-FFF2-40B4-BE49-F238E27FC236}">
                <a16:creationId xmlns:a16="http://schemas.microsoft.com/office/drawing/2014/main" id="{7214BE5A-97E6-924A-EBF7-D329CA4897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42" y="503955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4" name="Kép 613">
            <a:extLst>
              <a:ext uri="{FF2B5EF4-FFF2-40B4-BE49-F238E27FC236}">
                <a16:creationId xmlns:a16="http://schemas.microsoft.com/office/drawing/2014/main" id="{7F8CE526-43CB-00D7-6F79-50DC129071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" y="503955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5" name="Kép 614" descr="A képen szöveg látható&#10;&#10;Automatikusan generált leírás">
            <a:extLst>
              <a:ext uri="{FF2B5EF4-FFF2-40B4-BE49-F238E27FC236}">
                <a16:creationId xmlns:a16="http://schemas.microsoft.com/office/drawing/2014/main" id="{BF84AA0E-A6E5-68C0-D1CE-E0856A53CC7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88" y="46284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6" name="Kép 615">
            <a:extLst>
              <a:ext uri="{FF2B5EF4-FFF2-40B4-BE49-F238E27FC236}">
                <a16:creationId xmlns:a16="http://schemas.microsoft.com/office/drawing/2014/main" id="{81720F05-8492-32BF-C96D-2908A3B087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42" y="462843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7" name="Kép 616">
            <a:extLst>
              <a:ext uri="{FF2B5EF4-FFF2-40B4-BE49-F238E27FC236}">
                <a16:creationId xmlns:a16="http://schemas.microsoft.com/office/drawing/2014/main" id="{5FB39009-21AB-CA2B-B92F-A95EA735A3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463" y="339695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8" name="Kép 617">
            <a:extLst>
              <a:ext uri="{FF2B5EF4-FFF2-40B4-BE49-F238E27FC236}">
                <a16:creationId xmlns:a16="http://schemas.microsoft.com/office/drawing/2014/main" id="{C1FA7BE8-F859-A9A2-D784-17D6CFB2F7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39695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19" name="Kép 618">
            <a:extLst>
              <a:ext uri="{FF2B5EF4-FFF2-40B4-BE49-F238E27FC236}">
                <a16:creationId xmlns:a16="http://schemas.microsoft.com/office/drawing/2014/main" id="{955E54E5-434A-03B1-0D5C-05AB6D2C4A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8068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0" name="Kép 619">
            <a:extLst>
              <a:ext uri="{FF2B5EF4-FFF2-40B4-BE49-F238E27FC236}">
                <a16:creationId xmlns:a16="http://schemas.microsoft.com/office/drawing/2014/main" id="{D2F73D4D-1F00-8CBA-69DD-0D4631D671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112" y="38068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1" name="Kép 620">
            <a:extLst>
              <a:ext uri="{FF2B5EF4-FFF2-40B4-BE49-F238E27FC236}">
                <a16:creationId xmlns:a16="http://schemas.microsoft.com/office/drawing/2014/main" id="{7058C580-634A-A4E4-E3FE-06D83CA03C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569" y="38068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2" name="Kép 621">
            <a:extLst>
              <a:ext uri="{FF2B5EF4-FFF2-40B4-BE49-F238E27FC236}">
                <a16:creationId xmlns:a16="http://schemas.microsoft.com/office/drawing/2014/main" id="{8DECD067-4AB8-80CD-0586-8A6B082594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191" y="38056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3" name="Kép 622">
            <a:extLst>
              <a:ext uri="{FF2B5EF4-FFF2-40B4-BE49-F238E27FC236}">
                <a16:creationId xmlns:a16="http://schemas.microsoft.com/office/drawing/2014/main" id="{85704E89-2AF8-4EA1-4C21-B1824B1820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1238" y="38056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4" name="Kép 623">
            <a:extLst>
              <a:ext uri="{FF2B5EF4-FFF2-40B4-BE49-F238E27FC236}">
                <a16:creationId xmlns:a16="http://schemas.microsoft.com/office/drawing/2014/main" id="{4BAE4E41-D2FE-E09D-AC2D-13BADDE059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1238" y="42154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5" name="Kép 624">
            <a:extLst>
              <a:ext uri="{FF2B5EF4-FFF2-40B4-BE49-F238E27FC236}">
                <a16:creationId xmlns:a16="http://schemas.microsoft.com/office/drawing/2014/main" id="{D8460786-91C0-2566-6247-13331E729D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2780" y="42154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6" name="Kép 625">
            <a:extLst>
              <a:ext uri="{FF2B5EF4-FFF2-40B4-BE49-F238E27FC236}">
                <a16:creationId xmlns:a16="http://schemas.microsoft.com/office/drawing/2014/main" id="{9D2A12B6-C6AE-8E5F-D812-14BE007F50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191" y="42151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7" name="Kép 626">
            <a:extLst>
              <a:ext uri="{FF2B5EF4-FFF2-40B4-BE49-F238E27FC236}">
                <a16:creationId xmlns:a16="http://schemas.microsoft.com/office/drawing/2014/main" id="{7C539C57-C851-C285-D1FC-8EC6B902E8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20" y="46262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8" name="Kép 627">
            <a:extLst>
              <a:ext uri="{FF2B5EF4-FFF2-40B4-BE49-F238E27FC236}">
                <a16:creationId xmlns:a16="http://schemas.microsoft.com/office/drawing/2014/main" id="{28159AFC-8CDB-EDE1-68E5-C5719CB96A9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2058" y="46262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29" name="Kép 628">
            <a:extLst>
              <a:ext uri="{FF2B5EF4-FFF2-40B4-BE49-F238E27FC236}">
                <a16:creationId xmlns:a16="http://schemas.microsoft.com/office/drawing/2014/main" id="{A7F9DF09-8649-6DC1-3C34-784D97A897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867" y="46262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0" name="Kép 629">
            <a:extLst>
              <a:ext uri="{FF2B5EF4-FFF2-40B4-BE49-F238E27FC236}">
                <a16:creationId xmlns:a16="http://schemas.microsoft.com/office/drawing/2014/main" id="{C4331444-2A70-3507-0DB7-0336A5C5E6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867" y="50361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1" name="Kép 630">
            <a:extLst>
              <a:ext uri="{FF2B5EF4-FFF2-40B4-BE49-F238E27FC236}">
                <a16:creationId xmlns:a16="http://schemas.microsoft.com/office/drawing/2014/main" id="{5C0F48C8-9836-1B30-3EE3-A7A57B5B1B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3409" y="50361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2" name="Kép 631" descr="A képen szöveg látható&#10;&#10;Automatikusan generált leírás">
            <a:extLst>
              <a:ext uri="{FF2B5EF4-FFF2-40B4-BE49-F238E27FC236}">
                <a16:creationId xmlns:a16="http://schemas.microsoft.com/office/drawing/2014/main" id="{10D13B48-3BD0-B338-B174-65AFFA584E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26" y="42151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3" name="Kép 632">
            <a:extLst>
              <a:ext uri="{FF2B5EF4-FFF2-40B4-BE49-F238E27FC236}">
                <a16:creationId xmlns:a16="http://schemas.microsoft.com/office/drawing/2014/main" id="{9B0FAE88-92BA-9D3E-D39A-0BA5D7582E8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20" y="42151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4" name="Kép 633">
            <a:extLst>
              <a:ext uri="{FF2B5EF4-FFF2-40B4-BE49-F238E27FC236}">
                <a16:creationId xmlns:a16="http://schemas.microsoft.com/office/drawing/2014/main" id="{EE678DCA-A02E-1B32-3500-30E45193D6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4952" y="50361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5" name="Kép 634">
            <a:extLst>
              <a:ext uri="{FF2B5EF4-FFF2-40B4-BE49-F238E27FC236}">
                <a16:creationId xmlns:a16="http://schemas.microsoft.com/office/drawing/2014/main" id="{E9D35043-07A7-D0E4-7211-A45C5530E3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43727" y="503741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6" name="Kép 635">
            <a:extLst>
              <a:ext uri="{FF2B5EF4-FFF2-40B4-BE49-F238E27FC236}">
                <a16:creationId xmlns:a16="http://schemas.microsoft.com/office/drawing/2014/main" id="{70E54410-00C4-570B-DA55-F9BE2A9B38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3774" y="503741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7" name="Kép 636" descr="A képen szöveg látható&#10;&#10;Automatikusan generált leírás">
            <a:extLst>
              <a:ext uri="{FF2B5EF4-FFF2-40B4-BE49-F238E27FC236}">
                <a16:creationId xmlns:a16="http://schemas.microsoft.com/office/drawing/2014/main" id="{838E8E98-0320-8C30-5F9E-69AFDC32F2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9481" y="46262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8" name="Kép 637">
            <a:extLst>
              <a:ext uri="{FF2B5EF4-FFF2-40B4-BE49-F238E27FC236}">
                <a16:creationId xmlns:a16="http://schemas.microsoft.com/office/drawing/2014/main" id="{817C77FE-ABEF-9DAD-F799-A19A24920C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43727" y="46262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39" name="Kép 638">
            <a:extLst>
              <a:ext uri="{FF2B5EF4-FFF2-40B4-BE49-F238E27FC236}">
                <a16:creationId xmlns:a16="http://schemas.microsoft.com/office/drawing/2014/main" id="{296D9A77-73E1-F2A8-6106-C09A90C658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85" y="38046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0" name="Kép 639">
            <a:extLst>
              <a:ext uri="{FF2B5EF4-FFF2-40B4-BE49-F238E27FC236}">
                <a16:creationId xmlns:a16="http://schemas.microsoft.com/office/drawing/2014/main" id="{2DD612FC-50FB-4713-AECB-B4E4B97C10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43" y="38046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1" name="Kép 640">
            <a:extLst>
              <a:ext uri="{FF2B5EF4-FFF2-40B4-BE49-F238E27FC236}">
                <a16:creationId xmlns:a16="http://schemas.microsoft.com/office/drawing/2014/main" id="{CBAF0A14-1A4A-2A1D-F976-D653ECDCEC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0" y="38046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2" name="Kép 641">
            <a:extLst>
              <a:ext uri="{FF2B5EF4-FFF2-40B4-BE49-F238E27FC236}">
                <a16:creationId xmlns:a16="http://schemas.microsoft.com/office/drawing/2014/main" id="{7C55CE65-083B-789F-3293-B761B069AA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338" y="3396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3" name="Kép 642">
            <a:extLst>
              <a:ext uri="{FF2B5EF4-FFF2-40B4-BE49-F238E27FC236}">
                <a16:creationId xmlns:a16="http://schemas.microsoft.com/office/drawing/2014/main" id="{51B8339D-065C-2ACC-ED7A-D1133A0988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5617" y="54613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4" name="Kép 643">
            <a:extLst>
              <a:ext uri="{FF2B5EF4-FFF2-40B4-BE49-F238E27FC236}">
                <a16:creationId xmlns:a16="http://schemas.microsoft.com/office/drawing/2014/main" id="{6C2EE9DA-8ACC-EE4C-4787-33346F99EF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7589" y="58734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5" name="Kép 644">
            <a:extLst>
              <a:ext uri="{FF2B5EF4-FFF2-40B4-BE49-F238E27FC236}">
                <a16:creationId xmlns:a16="http://schemas.microsoft.com/office/drawing/2014/main" id="{E17938B8-AE3D-9AEE-AC75-F657B2ADBB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7636" y="58734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6" name="Kép 645">
            <a:extLst>
              <a:ext uri="{FF2B5EF4-FFF2-40B4-BE49-F238E27FC236}">
                <a16:creationId xmlns:a16="http://schemas.microsoft.com/office/drawing/2014/main" id="{81CE72C4-82CA-874B-2F14-2784840EB8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7636" y="62833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7" name="Kép 646">
            <a:extLst>
              <a:ext uri="{FF2B5EF4-FFF2-40B4-BE49-F238E27FC236}">
                <a16:creationId xmlns:a16="http://schemas.microsoft.com/office/drawing/2014/main" id="{BEC3BF4E-FDAE-97E9-4093-9E55A61005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9178" y="62833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8" name="Kép 647" descr="A képen szöveg látható&#10;&#10;Automatikusan generált leírás">
            <a:extLst>
              <a:ext uri="{FF2B5EF4-FFF2-40B4-BE49-F238E27FC236}">
                <a16:creationId xmlns:a16="http://schemas.microsoft.com/office/drawing/2014/main" id="{D0EB8958-CEE9-3BFB-CDE8-E3F136C441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3343" y="54623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49" name="Kép 648">
            <a:extLst>
              <a:ext uri="{FF2B5EF4-FFF2-40B4-BE49-F238E27FC236}">
                <a16:creationId xmlns:a16="http://schemas.microsoft.com/office/drawing/2014/main" id="{5EA74CAB-24F3-83C9-21BC-793B81D5EA0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7589" y="546236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0" name="Kép 649">
            <a:extLst>
              <a:ext uri="{FF2B5EF4-FFF2-40B4-BE49-F238E27FC236}">
                <a16:creationId xmlns:a16="http://schemas.microsoft.com/office/drawing/2014/main" id="{928B6C4E-DC6A-13A4-854C-1E7729D957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7589" y="62830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1" name="Kép 650">
            <a:extLst>
              <a:ext uri="{FF2B5EF4-FFF2-40B4-BE49-F238E27FC236}">
                <a16:creationId xmlns:a16="http://schemas.microsoft.com/office/drawing/2014/main" id="{E2533455-CFE4-331E-DD46-2CB5917AEC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8218" y="66941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2" name="Kép 651">
            <a:extLst>
              <a:ext uri="{FF2B5EF4-FFF2-40B4-BE49-F238E27FC236}">
                <a16:creationId xmlns:a16="http://schemas.microsoft.com/office/drawing/2014/main" id="{828E0528-161B-17E5-9ECB-F56C3D2DD24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8456" y="66941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3" name="Kép 652">
            <a:extLst>
              <a:ext uri="{FF2B5EF4-FFF2-40B4-BE49-F238E27FC236}">
                <a16:creationId xmlns:a16="http://schemas.microsoft.com/office/drawing/2014/main" id="{9B4F6646-22AE-EC81-87D4-4D8BB5659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65" y="66941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4" name="Kép 653">
            <a:extLst>
              <a:ext uri="{FF2B5EF4-FFF2-40B4-BE49-F238E27FC236}">
                <a16:creationId xmlns:a16="http://schemas.microsoft.com/office/drawing/2014/main" id="{8B7FBD67-2375-16A4-06F5-715D3CC930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65" y="71040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5" name="Kép 654">
            <a:extLst>
              <a:ext uri="{FF2B5EF4-FFF2-40B4-BE49-F238E27FC236}">
                <a16:creationId xmlns:a16="http://schemas.microsoft.com/office/drawing/2014/main" id="{F5E6BA66-0BAE-1D55-73D4-C6EEEFA588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9807" y="71040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6" name="Kép 655" descr="A képen szöveg látható&#10;&#10;Automatikusan generált leírás">
            <a:extLst>
              <a:ext uri="{FF2B5EF4-FFF2-40B4-BE49-F238E27FC236}">
                <a16:creationId xmlns:a16="http://schemas.microsoft.com/office/drawing/2014/main" id="{3B4998B8-46C6-9F5B-A20A-DF2031D667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3972" y="62830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7" name="Kép 656">
            <a:extLst>
              <a:ext uri="{FF2B5EF4-FFF2-40B4-BE49-F238E27FC236}">
                <a16:creationId xmlns:a16="http://schemas.microsoft.com/office/drawing/2014/main" id="{9363DD39-D186-988C-C695-C4DEC223202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8218" y="62830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8" name="Kép 657">
            <a:extLst>
              <a:ext uri="{FF2B5EF4-FFF2-40B4-BE49-F238E27FC236}">
                <a16:creationId xmlns:a16="http://schemas.microsoft.com/office/drawing/2014/main" id="{812E3030-3765-59F0-DD86-727CC8F12B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01350" y="71040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59" name="Kép 658">
            <a:extLst>
              <a:ext uri="{FF2B5EF4-FFF2-40B4-BE49-F238E27FC236}">
                <a16:creationId xmlns:a16="http://schemas.microsoft.com/office/drawing/2014/main" id="{E4C69CBE-2CBD-4FAD-99E5-C4C432ED67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0125" y="71052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0" name="Kép 659">
            <a:extLst>
              <a:ext uri="{FF2B5EF4-FFF2-40B4-BE49-F238E27FC236}">
                <a16:creationId xmlns:a16="http://schemas.microsoft.com/office/drawing/2014/main" id="{D1237381-98E7-5AAC-B78B-8E522D12B4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20172" y="71052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1" name="Kép 660" descr="A képen szöveg látható&#10;&#10;Automatikusan generált leírás">
            <a:extLst>
              <a:ext uri="{FF2B5EF4-FFF2-40B4-BE49-F238E27FC236}">
                <a16:creationId xmlns:a16="http://schemas.microsoft.com/office/drawing/2014/main" id="{35738BD0-BE44-F38A-7C33-798E9BF1E5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5879" y="66941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2" name="Kép 661">
            <a:extLst>
              <a:ext uri="{FF2B5EF4-FFF2-40B4-BE49-F238E27FC236}">
                <a16:creationId xmlns:a16="http://schemas.microsoft.com/office/drawing/2014/main" id="{374A1507-31B3-C93C-401C-5AE046B2AD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0125" y="66941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3" name="Kép 662">
            <a:extLst>
              <a:ext uri="{FF2B5EF4-FFF2-40B4-BE49-F238E27FC236}">
                <a16:creationId xmlns:a16="http://schemas.microsoft.com/office/drawing/2014/main" id="{93CC4EE6-F4E8-16F3-C471-9C3C17196A9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4504" y="54626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4" name="Kép 663">
            <a:extLst>
              <a:ext uri="{FF2B5EF4-FFF2-40B4-BE49-F238E27FC236}">
                <a16:creationId xmlns:a16="http://schemas.microsoft.com/office/drawing/2014/main" id="{F065F61C-6EE4-385A-28B2-507A5D9023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4313" y="54626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5" name="Kép 664">
            <a:extLst>
              <a:ext uri="{FF2B5EF4-FFF2-40B4-BE49-F238E27FC236}">
                <a16:creationId xmlns:a16="http://schemas.microsoft.com/office/drawing/2014/main" id="{634BAC3A-EAF0-8808-EAF1-1100BD8218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4313" y="58725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6" name="Kép 665">
            <a:extLst>
              <a:ext uri="{FF2B5EF4-FFF2-40B4-BE49-F238E27FC236}">
                <a16:creationId xmlns:a16="http://schemas.microsoft.com/office/drawing/2014/main" id="{064AAA97-F44B-1167-7A97-761C8D8557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5855" y="58725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7" name="Kép 666">
            <a:extLst>
              <a:ext uri="{FF2B5EF4-FFF2-40B4-BE49-F238E27FC236}">
                <a16:creationId xmlns:a16="http://schemas.microsoft.com/office/drawing/2014/main" id="{2C07D2D7-5128-54C6-3265-27E9EB4BF4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7398" y="58725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8" name="Kép 667">
            <a:extLst>
              <a:ext uri="{FF2B5EF4-FFF2-40B4-BE49-F238E27FC236}">
                <a16:creationId xmlns:a16="http://schemas.microsoft.com/office/drawing/2014/main" id="{0E92C502-00DD-25D7-0F5A-B86FFB0756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32" y="54626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69" name="Kép 668">
            <a:extLst>
              <a:ext uri="{FF2B5EF4-FFF2-40B4-BE49-F238E27FC236}">
                <a16:creationId xmlns:a16="http://schemas.microsoft.com/office/drawing/2014/main" id="{2792E18A-B309-FBA8-13C3-34AD64CDE7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2579" y="54626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0" name="Kép 669">
            <a:extLst>
              <a:ext uri="{FF2B5EF4-FFF2-40B4-BE49-F238E27FC236}">
                <a16:creationId xmlns:a16="http://schemas.microsoft.com/office/drawing/2014/main" id="{89A1FECB-B754-06E1-0B89-8D984F8A9C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2579" y="58725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1" name="Kép 670">
            <a:extLst>
              <a:ext uri="{FF2B5EF4-FFF2-40B4-BE49-F238E27FC236}">
                <a16:creationId xmlns:a16="http://schemas.microsoft.com/office/drawing/2014/main" id="{D20D682E-AA2C-9E64-4195-6D76EDDEF0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4121" y="58725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2" name="Kép 671">
            <a:extLst>
              <a:ext uri="{FF2B5EF4-FFF2-40B4-BE49-F238E27FC236}">
                <a16:creationId xmlns:a16="http://schemas.microsoft.com/office/drawing/2014/main" id="{47652D82-B065-BC1E-09FC-3AD29AB53A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32" y="58722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3" name="Kép 672">
            <a:extLst>
              <a:ext uri="{FF2B5EF4-FFF2-40B4-BE49-F238E27FC236}">
                <a16:creationId xmlns:a16="http://schemas.microsoft.com/office/drawing/2014/main" id="{74B2E29B-0F18-52D4-E853-0F935017BA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839" y="62833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4" name="Kép 673">
            <a:extLst>
              <a:ext uri="{FF2B5EF4-FFF2-40B4-BE49-F238E27FC236}">
                <a16:creationId xmlns:a16="http://schemas.microsoft.com/office/drawing/2014/main" id="{D0C5997E-6131-0DE2-944B-84E401C5DE1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3399" y="62833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5" name="Kép 674">
            <a:extLst>
              <a:ext uri="{FF2B5EF4-FFF2-40B4-BE49-F238E27FC236}">
                <a16:creationId xmlns:a16="http://schemas.microsoft.com/office/drawing/2014/main" id="{B9CE0869-F43D-D16C-C91C-5119F59A2C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8" y="62833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6" name="Kép 675">
            <a:extLst>
              <a:ext uri="{FF2B5EF4-FFF2-40B4-BE49-F238E27FC236}">
                <a16:creationId xmlns:a16="http://schemas.microsoft.com/office/drawing/2014/main" id="{C2503681-0C54-549B-CB50-D541C5F4AB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8" y="66932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7" name="Kép 676">
            <a:extLst>
              <a:ext uri="{FF2B5EF4-FFF2-40B4-BE49-F238E27FC236}">
                <a16:creationId xmlns:a16="http://schemas.microsoft.com/office/drawing/2014/main" id="{9697E08E-4A35-9C75-2DE1-4CAD11CED2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4750" y="66932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8" name="Kép 677" descr="A képen szöveg látható&#10;&#10;Automatikusan generált leírás">
            <a:extLst>
              <a:ext uri="{FF2B5EF4-FFF2-40B4-BE49-F238E27FC236}">
                <a16:creationId xmlns:a16="http://schemas.microsoft.com/office/drawing/2014/main" id="{4999DAB9-A94E-2B9F-1ED1-BD07E25F5A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85" y="58722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79" name="Kép 678">
            <a:extLst>
              <a:ext uri="{FF2B5EF4-FFF2-40B4-BE49-F238E27FC236}">
                <a16:creationId xmlns:a16="http://schemas.microsoft.com/office/drawing/2014/main" id="{F4651528-3F9D-189B-EA0B-9459A714F4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839" y="58722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0" name="Kép 679">
            <a:extLst>
              <a:ext uri="{FF2B5EF4-FFF2-40B4-BE49-F238E27FC236}">
                <a16:creationId xmlns:a16="http://schemas.microsoft.com/office/drawing/2014/main" id="{BC840BE9-1530-94F9-5856-FE58E75468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6293" y="66932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1" name="Kép 680">
            <a:extLst>
              <a:ext uri="{FF2B5EF4-FFF2-40B4-BE49-F238E27FC236}">
                <a16:creationId xmlns:a16="http://schemas.microsoft.com/office/drawing/2014/main" id="{46D605B2-0D4C-C694-3318-C179B1E891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5068" y="66944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2" name="Kép 681">
            <a:extLst>
              <a:ext uri="{FF2B5EF4-FFF2-40B4-BE49-F238E27FC236}">
                <a16:creationId xmlns:a16="http://schemas.microsoft.com/office/drawing/2014/main" id="{3393CDB7-C7E4-A227-51E0-E6BB48B663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5115" y="66944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3" name="Kép 682" descr="A képen szöveg látható&#10;&#10;Automatikusan generált leírás">
            <a:extLst>
              <a:ext uri="{FF2B5EF4-FFF2-40B4-BE49-F238E27FC236}">
                <a16:creationId xmlns:a16="http://schemas.microsoft.com/office/drawing/2014/main" id="{84BFC244-ABE0-E04A-F971-4BE2CD8CBC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0822" y="62833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4" name="Kép 683">
            <a:extLst>
              <a:ext uri="{FF2B5EF4-FFF2-40B4-BE49-F238E27FC236}">
                <a16:creationId xmlns:a16="http://schemas.microsoft.com/office/drawing/2014/main" id="{7B5FF061-A654-D4B3-10BF-05BC82E370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5068" y="62833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5" name="Kép 684">
            <a:extLst>
              <a:ext uri="{FF2B5EF4-FFF2-40B4-BE49-F238E27FC236}">
                <a16:creationId xmlns:a16="http://schemas.microsoft.com/office/drawing/2014/main" id="{72753496-E79D-DB9E-1EA1-A9F4D9F0781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744" y="54617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6" name="Kép 685">
            <a:extLst>
              <a:ext uri="{FF2B5EF4-FFF2-40B4-BE49-F238E27FC236}">
                <a16:creationId xmlns:a16="http://schemas.microsoft.com/office/drawing/2014/main" id="{66590C0A-7695-7E1E-A906-C21122571D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02" y="54617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7" name="Kép 686">
            <a:extLst>
              <a:ext uri="{FF2B5EF4-FFF2-40B4-BE49-F238E27FC236}">
                <a16:creationId xmlns:a16="http://schemas.microsoft.com/office/drawing/2014/main" id="{861045F2-1900-0269-E02B-44C894FC7E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59" y="54617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8" name="Kép 687">
            <a:extLst>
              <a:ext uri="{FF2B5EF4-FFF2-40B4-BE49-F238E27FC236}">
                <a16:creationId xmlns:a16="http://schemas.microsoft.com/office/drawing/2014/main" id="{31613FB1-1EEB-7394-0D6D-315996EC9A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1852" y="75145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89" name="Kép 688">
            <a:extLst>
              <a:ext uri="{FF2B5EF4-FFF2-40B4-BE49-F238E27FC236}">
                <a16:creationId xmlns:a16="http://schemas.microsoft.com/office/drawing/2014/main" id="{63C35D23-3CED-1A5E-363F-5B08E04466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1899" y="75145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0" name="Kép 689">
            <a:extLst>
              <a:ext uri="{FF2B5EF4-FFF2-40B4-BE49-F238E27FC236}">
                <a16:creationId xmlns:a16="http://schemas.microsoft.com/office/drawing/2014/main" id="{7B74314E-7B69-55A9-290D-481A53DE7C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1899" y="79244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1" name="Kép 690">
            <a:extLst>
              <a:ext uri="{FF2B5EF4-FFF2-40B4-BE49-F238E27FC236}">
                <a16:creationId xmlns:a16="http://schemas.microsoft.com/office/drawing/2014/main" id="{CCF27EE0-8A40-3667-B81A-900D729106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3441" y="79244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2" name="Kép 691" descr="A képen szöveg látható&#10;&#10;Automatikusan generált leírás">
            <a:extLst>
              <a:ext uri="{FF2B5EF4-FFF2-40B4-BE49-F238E27FC236}">
                <a16:creationId xmlns:a16="http://schemas.microsoft.com/office/drawing/2014/main" id="{6BDB1633-2E34-2CBC-AE95-DAABF30A86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47606" y="71034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3" name="Kép 692">
            <a:extLst>
              <a:ext uri="{FF2B5EF4-FFF2-40B4-BE49-F238E27FC236}">
                <a16:creationId xmlns:a16="http://schemas.microsoft.com/office/drawing/2014/main" id="{A233657E-31CB-71A6-21E8-925D58CA7B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1852" y="71034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4" name="Kép 693">
            <a:extLst>
              <a:ext uri="{FF2B5EF4-FFF2-40B4-BE49-F238E27FC236}">
                <a16:creationId xmlns:a16="http://schemas.microsoft.com/office/drawing/2014/main" id="{1B2B016E-7167-FDE1-66BB-6B55E3A59C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1852" y="79240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5" name="Kép 694">
            <a:extLst>
              <a:ext uri="{FF2B5EF4-FFF2-40B4-BE49-F238E27FC236}">
                <a16:creationId xmlns:a16="http://schemas.microsoft.com/office/drawing/2014/main" id="{0450C6D7-FEF8-D3CE-4BAD-EED14860AB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2481" y="83352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6" name="Kép 695">
            <a:extLst>
              <a:ext uri="{FF2B5EF4-FFF2-40B4-BE49-F238E27FC236}">
                <a16:creationId xmlns:a16="http://schemas.microsoft.com/office/drawing/2014/main" id="{D4F7DD63-B2A9-B53D-DEF1-6C289C70B3C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2719" y="83352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7" name="Kép 696">
            <a:extLst>
              <a:ext uri="{FF2B5EF4-FFF2-40B4-BE49-F238E27FC236}">
                <a16:creationId xmlns:a16="http://schemas.microsoft.com/office/drawing/2014/main" id="{D357EF9F-AEB2-871E-8184-2227A602B2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2528" y="83352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8" name="Kép 697">
            <a:extLst>
              <a:ext uri="{FF2B5EF4-FFF2-40B4-BE49-F238E27FC236}">
                <a16:creationId xmlns:a16="http://schemas.microsoft.com/office/drawing/2014/main" id="{5CB943E5-8B4D-7084-5827-B20A750130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2528" y="87450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699" name="Kép 698">
            <a:extLst>
              <a:ext uri="{FF2B5EF4-FFF2-40B4-BE49-F238E27FC236}">
                <a16:creationId xmlns:a16="http://schemas.microsoft.com/office/drawing/2014/main" id="{3A3F1075-E87C-CDCF-AEFD-A8C468EAE4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4070" y="87450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0" name="Kép 699" descr="A képen szöveg látható&#10;&#10;Automatikusan generált leírás">
            <a:extLst>
              <a:ext uri="{FF2B5EF4-FFF2-40B4-BE49-F238E27FC236}">
                <a16:creationId xmlns:a16="http://schemas.microsoft.com/office/drawing/2014/main" id="{B17BA591-28FB-8620-A752-0841DDA4C4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8235" y="79240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1" name="Kép 700">
            <a:extLst>
              <a:ext uri="{FF2B5EF4-FFF2-40B4-BE49-F238E27FC236}">
                <a16:creationId xmlns:a16="http://schemas.microsoft.com/office/drawing/2014/main" id="{45D6269C-7DB0-324E-D0A9-86C32160F8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2481" y="79240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2" name="Kép 701">
            <a:extLst>
              <a:ext uri="{FF2B5EF4-FFF2-40B4-BE49-F238E27FC236}">
                <a16:creationId xmlns:a16="http://schemas.microsoft.com/office/drawing/2014/main" id="{2BF4A11A-12AC-D9F7-2975-DC6575C3C2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5613" y="874507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3" name="Kép 702">
            <a:extLst>
              <a:ext uri="{FF2B5EF4-FFF2-40B4-BE49-F238E27FC236}">
                <a16:creationId xmlns:a16="http://schemas.microsoft.com/office/drawing/2014/main" id="{F07FF6E5-6D2F-FEBE-733C-18DCFD6654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4388" y="87463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4" name="Kép 703">
            <a:extLst>
              <a:ext uri="{FF2B5EF4-FFF2-40B4-BE49-F238E27FC236}">
                <a16:creationId xmlns:a16="http://schemas.microsoft.com/office/drawing/2014/main" id="{FE32CD9E-93CE-36D6-F15F-052FFA2920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04435" y="87463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5" name="Kép 704" descr="A képen szöveg látható&#10;&#10;Automatikusan generált leírás">
            <a:extLst>
              <a:ext uri="{FF2B5EF4-FFF2-40B4-BE49-F238E27FC236}">
                <a16:creationId xmlns:a16="http://schemas.microsoft.com/office/drawing/2014/main" id="{8CEDCA87-A392-B804-2411-57D03136D9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0142" y="83352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6" name="Kép 705">
            <a:extLst>
              <a:ext uri="{FF2B5EF4-FFF2-40B4-BE49-F238E27FC236}">
                <a16:creationId xmlns:a16="http://schemas.microsoft.com/office/drawing/2014/main" id="{30E44264-B38F-F130-F10C-346EFF36D5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4388" y="83352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7" name="Kép 706">
            <a:extLst>
              <a:ext uri="{FF2B5EF4-FFF2-40B4-BE49-F238E27FC236}">
                <a16:creationId xmlns:a16="http://schemas.microsoft.com/office/drawing/2014/main" id="{656E5467-C8ED-DD3F-0F45-948B1B1C3DB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38767" y="71037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8" name="Kép 707">
            <a:extLst>
              <a:ext uri="{FF2B5EF4-FFF2-40B4-BE49-F238E27FC236}">
                <a16:creationId xmlns:a16="http://schemas.microsoft.com/office/drawing/2014/main" id="{C0AD2867-ED0F-693A-421F-62AC3839E6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576" y="71037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09" name="Kép 708">
            <a:extLst>
              <a:ext uri="{FF2B5EF4-FFF2-40B4-BE49-F238E27FC236}">
                <a16:creationId xmlns:a16="http://schemas.microsoft.com/office/drawing/2014/main" id="{BA87FB22-EA9B-88D0-2A8A-E2799C5436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576" y="75135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0" name="Kép 709">
            <a:extLst>
              <a:ext uri="{FF2B5EF4-FFF2-40B4-BE49-F238E27FC236}">
                <a16:creationId xmlns:a16="http://schemas.microsoft.com/office/drawing/2014/main" id="{1FBB707C-D94C-F888-648D-89719B67DA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118" y="75135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1" name="Kép 710">
            <a:extLst>
              <a:ext uri="{FF2B5EF4-FFF2-40B4-BE49-F238E27FC236}">
                <a16:creationId xmlns:a16="http://schemas.microsoft.com/office/drawing/2014/main" id="{DDCC5C9F-2F36-DFDF-2924-806F87A651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51661" y="75135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2" name="Kép 711">
            <a:extLst>
              <a:ext uri="{FF2B5EF4-FFF2-40B4-BE49-F238E27FC236}">
                <a16:creationId xmlns:a16="http://schemas.microsoft.com/office/drawing/2014/main" id="{1C5CDFB3-3F3A-FE84-DB0C-A901DEE43D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9421" y="75123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3" name="Kép 712">
            <a:extLst>
              <a:ext uri="{FF2B5EF4-FFF2-40B4-BE49-F238E27FC236}">
                <a16:creationId xmlns:a16="http://schemas.microsoft.com/office/drawing/2014/main" id="{F0736105-FEC7-4613-59AF-196A51B911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29468" y="75123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4" name="Kép 713">
            <a:extLst>
              <a:ext uri="{FF2B5EF4-FFF2-40B4-BE49-F238E27FC236}">
                <a16:creationId xmlns:a16="http://schemas.microsoft.com/office/drawing/2014/main" id="{0B9A7209-0041-C775-5D28-F6A611CFD5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29468" y="79222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5" name="Kép 714">
            <a:extLst>
              <a:ext uri="{FF2B5EF4-FFF2-40B4-BE49-F238E27FC236}">
                <a16:creationId xmlns:a16="http://schemas.microsoft.com/office/drawing/2014/main" id="{797FF9B1-2BF4-528E-39B9-5EE4A5CB96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41010" y="79222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6" name="Kép 715">
            <a:extLst>
              <a:ext uri="{FF2B5EF4-FFF2-40B4-BE49-F238E27FC236}">
                <a16:creationId xmlns:a16="http://schemas.microsoft.com/office/drawing/2014/main" id="{B82AA4CB-1A43-B49C-A560-0792DC27BC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9421" y="79219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7" name="Kép 716">
            <a:extLst>
              <a:ext uri="{FF2B5EF4-FFF2-40B4-BE49-F238E27FC236}">
                <a16:creationId xmlns:a16="http://schemas.microsoft.com/office/drawing/2014/main" id="{444AFCA6-A153-4152-0D37-2D84F5B811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0050" y="83330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8" name="Kép 717">
            <a:extLst>
              <a:ext uri="{FF2B5EF4-FFF2-40B4-BE49-F238E27FC236}">
                <a16:creationId xmlns:a16="http://schemas.microsoft.com/office/drawing/2014/main" id="{7AC725D5-A5B6-CF56-CE73-AD0073AB763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0288" y="83330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19" name="Kép 718">
            <a:extLst>
              <a:ext uri="{FF2B5EF4-FFF2-40B4-BE49-F238E27FC236}">
                <a16:creationId xmlns:a16="http://schemas.microsoft.com/office/drawing/2014/main" id="{A471DC4B-77C6-A3B7-951A-149D3C23C3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20097" y="83330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0" name="Kép 719">
            <a:extLst>
              <a:ext uri="{FF2B5EF4-FFF2-40B4-BE49-F238E27FC236}">
                <a16:creationId xmlns:a16="http://schemas.microsoft.com/office/drawing/2014/main" id="{A49344B6-FD48-AD9E-4016-ACB3043458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20097" y="87429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1" name="Kép 720">
            <a:extLst>
              <a:ext uri="{FF2B5EF4-FFF2-40B4-BE49-F238E27FC236}">
                <a16:creationId xmlns:a16="http://schemas.microsoft.com/office/drawing/2014/main" id="{18AF07FA-BBC9-1AA5-5FF4-2AAA1E00E5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1639" y="87429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2" name="Kép 721" descr="A képen szöveg látható&#10;&#10;Automatikusan generált leírás">
            <a:extLst>
              <a:ext uri="{FF2B5EF4-FFF2-40B4-BE49-F238E27FC236}">
                <a16:creationId xmlns:a16="http://schemas.microsoft.com/office/drawing/2014/main" id="{74DEB8BA-9921-5124-963F-85EDC893CC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5804" y="79219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3" name="Kép 722">
            <a:extLst>
              <a:ext uri="{FF2B5EF4-FFF2-40B4-BE49-F238E27FC236}">
                <a16:creationId xmlns:a16="http://schemas.microsoft.com/office/drawing/2014/main" id="{C80A32F6-7CE5-7A3D-E7C6-AA4168B935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10050" y="79219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4" name="Kép 723">
            <a:extLst>
              <a:ext uri="{FF2B5EF4-FFF2-40B4-BE49-F238E27FC236}">
                <a16:creationId xmlns:a16="http://schemas.microsoft.com/office/drawing/2014/main" id="{2C301CF7-04B7-D721-81F3-74F1C514DD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43182" y="87429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5" name="Kép 724">
            <a:extLst>
              <a:ext uri="{FF2B5EF4-FFF2-40B4-BE49-F238E27FC236}">
                <a16:creationId xmlns:a16="http://schemas.microsoft.com/office/drawing/2014/main" id="{E82A5AB9-E5D9-58A2-A53F-CD7E12D8C3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51957" y="87441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6" name="Kép 725">
            <a:extLst>
              <a:ext uri="{FF2B5EF4-FFF2-40B4-BE49-F238E27FC236}">
                <a16:creationId xmlns:a16="http://schemas.microsoft.com/office/drawing/2014/main" id="{E6DC838A-3C89-F523-6F0D-0E899F1300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62004" y="87441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7" name="Kép 726" descr="A képen szöveg látható&#10;&#10;Automatikusan generált leírás">
            <a:extLst>
              <a:ext uri="{FF2B5EF4-FFF2-40B4-BE49-F238E27FC236}">
                <a16:creationId xmlns:a16="http://schemas.microsoft.com/office/drawing/2014/main" id="{B2AB76F0-2691-E638-82F5-50C64F7823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37711" y="83330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8" name="Kép 727">
            <a:extLst>
              <a:ext uri="{FF2B5EF4-FFF2-40B4-BE49-F238E27FC236}">
                <a16:creationId xmlns:a16="http://schemas.microsoft.com/office/drawing/2014/main" id="{5F6E337C-BD78-2647-AC09-E3C8863DB56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51957" y="83330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29" name="Kép 728">
            <a:extLst>
              <a:ext uri="{FF2B5EF4-FFF2-40B4-BE49-F238E27FC236}">
                <a16:creationId xmlns:a16="http://schemas.microsoft.com/office/drawing/2014/main" id="{685FC37C-38E9-66C2-0578-A64B964F4A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6145" y="7511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0" name="Kép 729">
            <a:extLst>
              <a:ext uri="{FF2B5EF4-FFF2-40B4-BE49-F238E27FC236}">
                <a16:creationId xmlns:a16="http://schemas.microsoft.com/office/drawing/2014/main" id="{ADCA0AE0-3916-B8B8-9F35-0D94A655E8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7687" y="7511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1" name="Kép 730">
            <a:extLst>
              <a:ext uri="{FF2B5EF4-FFF2-40B4-BE49-F238E27FC236}">
                <a16:creationId xmlns:a16="http://schemas.microsoft.com/office/drawing/2014/main" id="{0A075AE5-F9F4-F131-4B8B-52C5E78348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09230" y="75114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2" name="Kép 731">
            <a:extLst>
              <a:ext uri="{FF2B5EF4-FFF2-40B4-BE49-F238E27FC236}">
                <a16:creationId xmlns:a16="http://schemas.microsoft.com/office/drawing/2014/main" id="{0B082212-1A93-1ECD-BDFC-2EAD954AC0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0892" y="71034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3" name="Kép 732">
            <a:extLst>
              <a:ext uri="{FF2B5EF4-FFF2-40B4-BE49-F238E27FC236}">
                <a16:creationId xmlns:a16="http://schemas.microsoft.com/office/drawing/2014/main" id="{F69BFBE8-9E2A-48C6-449B-E33D585789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747" y="-194842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4" name="Kép 733">
            <a:extLst>
              <a:ext uri="{FF2B5EF4-FFF2-40B4-BE49-F238E27FC236}">
                <a16:creationId xmlns:a16="http://schemas.microsoft.com/office/drawing/2014/main" id="{828C88E6-ABDF-73FE-B3C8-585D290D7D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775" y="-15363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5" name="Kép 734">
            <a:extLst>
              <a:ext uri="{FF2B5EF4-FFF2-40B4-BE49-F238E27FC236}">
                <a16:creationId xmlns:a16="http://schemas.microsoft.com/office/drawing/2014/main" id="{49C34817-DDF0-27A7-DAE4-8AC4EF07AE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728" y="-15363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6" name="Kép 735">
            <a:extLst>
              <a:ext uri="{FF2B5EF4-FFF2-40B4-BE49-F238E27FC236}">
                <a16:creationId xmlns:a16="http://schemas.microsoft.com/office/drawing/2014/main" id="{FE70C752-A59B-0562-721C-A191B4B008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728" y="-112645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7" name="Kép 736">
            <a:extLst>
              <a:ext uri="{FF2B5EF4-FFF2-40B4-BE49-F238E27FC236}">
                <a16:creationId xmlns:a16="http://schemas.microsoft.com/office/drawing/2014/main" id="{697B00A0-F30F-F437-C9E0-03BDB0215C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186" y="-112645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8" name="Kép 737" descr="A képen szöveg látható&#10;&#10;Automatikusan generált leírás">
            <a:extLst>
              <a:ext uri="{FF2B5EF4-FFF2-40B4-BE49-F238E27FC236}">
                <a16:creationId xmlns:a16="http://schemas.microsoft.com/office/drawing/2014/main" id="{72B0D47E-D07E-A0D8-6023-F4170D0A44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021" y="-19474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39" name="Kép 738">
            <a:extLst>
              <a:ext uri="{FF2B5EF4-FFF2-40B4-BE49-F238E27FC236}">
                <a16:creationId xmlns:a16="http://schemas.microsoft.com/office/drawing/2014/main" id="{0F1C1256-09A7-E694-854E-1D88449F9E5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775" y="-19474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0" name="Kép 739">
            <a:extLst>
              <a:ext uri="{FF2B5EF4-FFF2-40B4-BE49-F238E27FC236}">
                <a16:creationId xmlns:a16="http://schemas.microsoft.com/office/drawing/2014/main" id="{31C9C17B-6610-81B0-4280-560529243F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775" y="-11267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1" name="Kép 740">
            <a:extLst>
              <a:ext uri="{FF2B5EF4-FFF2-40B4-BE49-F238E27FC236}">
                <a16:creationId xmlns:a16="http://schemas.microsoft.com/office/drawing/2014/main" id="{829E4233-D757-1A6C-3FEC-3E185D8324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-7156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2" name="Kép 741">
            <a:extLst>
              <a:ext uri="{FF2B5EF4-FFF2-40B4-BE49-F238E27FC236}">
                <a16:creationId xmlns:a16="http://schemas.microsoft.com/office/drawing/2014/main" id="{DAAA4B1E-F509-98D8-FD45-895ADD3B233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908" y="-7156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3" name="Kép 742">
            <a:extLst>
              <a:ext uri="{FF2B5EF4-FFF2-40B4-BE49-F238E27FC236}">
                <a16:creationId xmlns:a16="http://schemas.microsoft.com/office/drawing/2014/main" id="{11C2B3EE-6B1D-1F6A-0AEC-87E14FFC29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99" y="-7156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4" name="Kép 743">
            <a:extLst>
              <a:ext uri="{FF2B5EF4-FFF2-40B4-BE49-F238E27FC236}">
                <a16:creationId xmlns:a16="http://schemas.microsoft.com/office/drawing/2014/main" id="{99ECD249-F128-AC44-0D79-05F58BB52E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99" y="-3057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5" name="Kép 744">
            <a:extLst>
              <a:ext uri="{FF2B5EF4-FFF2-40B4-BE49-F238E27FC236}">
                <a16:creationId xmlns:a16="http://schemas.microsoft.com/office/drawing/2014/main" id="{9145BFFC-30BF-0D13-AC7F-071808156D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557" y="-3057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6" name="Kép 745" descr="A képen szöveg látható&#10;&#10;Automatikusan generált leírás">
            <a:extLst>
              <a:ext uri="{FF2B5EF4-FFF2-40B4-BE49-F238E27FC236}">
                <a16:creationId xmlns:a16="http://schemas.microsoft.com/office/drawing/2014/main" id="{129B859C-8B5B-96D8-6D5A-E0222E8CE5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392" y="-11267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7" name="Kép 746">
            <a:extLst>
              <a:ext uri="{FF2B5EF4-FFF2-40B4-BE49-F238E27FC236}">
                <a16:creationId xmlns:a16="http://schemas.microsoft.com/office/drawing/2014/main" id="{2300C995-F83D-A3F0-595C-AB777708656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-11267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8" name="Kép 747">
            <a:extLst>
              <a:ext uri="{FF2B5EF4-FFF2-40B4-BE49-F238E27FC236}">
                <a16:creationId xmlns:a16="http://schemas.microsoft.com/office/drawing/2014/main" id="{64F9F161-88B8-8225-A9A8-3636813DCE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014" y="-3057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49" name="Kép 748">
            <a:extLst>
              <a:ext uri="{FF2B5EF4-FFF2-40B4-BE49-F238E27FC236}">
                <a16:creationId xmlns:a16="http://schemas.microsoft.com/office/drawing/2014/main" id="{1D2AAC81-3B75-2AA2-CB7D-BEA624E339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239" y="-3045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0" name="Kép 749">
            <a:extLst>
              <a:ext uri="{FF2B5EF4-FFF2-40B4-BE49-F238E27FC236}">
                <a16:creationId xmlns:a16="http://schemas.microsoft.com/office/drawing/2014/main" id="{836827AF-C4E3-80EA-B15A-6B3A04BBC9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92" y="-3045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1" name="Kép 750" descr="A képen szöveg látható&#10;&#10;Automatikusan generált leírás">
            <a:extLst>
              <a:ext uri="{FF2B5EF4-FFF2-40B4-BE49-F238E27FC236}">
                <a16:creationId xmlns:a16="http://schemas.microsoft.com/office/drawing/2014/main" id="{037D23BE-5485-9EB0-F482-1C0965D03D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485" y="-7156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2" name="Kép 751">
            <a:extLst>
              <a:ext uri="{FF2B5EF4-FFF2-40B4-BE49-F238E27FC236}">
                <a16:creationId xmlns:a16="http://schemas.microsoft.com/office/drawing/2014/main" id="{25C1C056-CDCF-AAFA-268B-0D6F5197D43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239" y="-7156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3" name="Kép 752">
            <a:extLst>
              <a:ext uri="{FF2B5EF4-FFF2-40B4-BE49-F238E27FC236}">
                <a16:creationId xmlns:a16="http://schemas.microsoft.com/office/drawing/2014/main" id="{3EA9B8D0-A768-9371-0196-FA7465D820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9860" y="-19471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4" name="Kép 753">
            <a:extLst>
              <a:ext uri="{FF2B5EF4-FFF2-40B4-BE49-F238E27FC236}">
                <a16:creationId xmlns:a16="http://schemas.microsoft.com/office/drawing/2014/main" id="{78C72475-2627-4DF2-612C-C4DF8651D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051" y="-19471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5" name="Kép 754">
            <a:extLst>
              <a:ext uri="{FF2B5EF4-FFF2-40B4-BE49-F238E27FC236}">
                <a16:creationId xmlns:a16="http://schemas.microsoft.com/office/drawing/2014/main" id="{1A72258D-B346-0A84-686E-CE50F10895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051" y="-15372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6" name="Kép 755">
            <a:extLst>
              <a:ext uri="{FF2B5EF4-FFF2-40B4-BE49-F238E27FC236}">
                <a16:creationId xmlns:a16="http://schemas.microsoft.com/office/drawing/2014/main" id="{E1FF8BCF-B734-26A5-407D-5F4084736D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509" y="-15372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7" name="Kép 756">
            <a:extLst>
              <a:ext uri="{FF2B5EF4-FFF2-40B4-BE49-F238E27FC236}">
                <a16:creationId xmlns:a16="http://schemas.microsoft.com/office/drawing/2014/main" id="{219F6795-7629-0219-F7B5-FCBCC8A547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966" y="-15372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8" name="Kép 757">
            <a:extLst>
              <a:ext uri="{FF2B5EF4-FFF2-40B4-BE49-F238E27FC236}">
                <a16:creationId xmlns:a16="http://schemas.microsoft.com/office/drawing/2014/main" id="{E6950692-1326-ACE9-7E74-63583BF215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832" y="-19471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59" name="Kép 758">
            <a:extLst>
              <a:ext uri="{FF2B5EF4-FFF2-40B4-BE49-F238E27FC236}">
                <a16:creationId xmlns:a16="http://schemas.microsoft.com/office/drawing/2014/main" id="{A85F403A-808B-16A5-FAC6-48C0F22D69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1785" y="-19471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0" name="Kép 759">
            <a:extLst>
              <a:ext uri="{FF2B5EF4-FFF2-40B4-BE49-F238E27FC236}">
                <a16:creationId xmlns:a16="http://schemas.microsoft.com/office/drawing/2014/main" id="{E1C252C0-174E-C153-4F34-7B5132BF58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1785" y="-15372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1" name="Kép 760">
            <a:extLst>
              <a:ext uri="{FF2B5EF4-FFF2-40B4-BE49-F238E27FC236}">
                <a16:creationId xmlns:a16="http://schemas.microsoft.com/office/drawing/2014/main" id="{5FE5C8E2-3937-7C41-0D9E-F22FF3B559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243" y="-15372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2" name="Kép 761">
            <a:extLst>
              <a:ext uri="{FF2B5EF4-FFF2-40B4-BE49-F238E27FC236}">
                <a16:creationId xmlns:a16="http://schemas.microsoft.com/office/drawing/2014/main" id="{4339D7C1-97A2-2C64-36D0-21FC9D0DC1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832" y="-15375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3" name="Kép 762">
            <a:extLst>
              <a:ext uri="{FF2B5EF4-FFF2-40B4-BE49-F238E27FC236}">
                <a16:creationId xmlns:a16="http://schemas.microsoft.com/office/drawing/2014/main" id="{B6B806D3-170C-0783-9D2F-C4035EE0E0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203" y="-11264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4" name="Kép 763">
            <a:extLst>
              <a:ext uri="{FF2B5EF4-FFF2-40B4-BE49-F238E27FC236}">
                <a16:creationId xmlns:a16="http://schemas.microsoft.com/office/drawing/2014/main" id="{2C54FF44-08FF-EF32-359A-77DBF8F1AA0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0965" y="-11264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5" name="Kép 764">
            <a:extLst>
              <a:ext uri="{FF2B5EF4-FFF2-40B4-BE49-F238E27FC236}">
                <a16:creationId xmlns:a16="http://schemas.microsoft.com/office/drawing/2014/main" id="{0D76316E-8321-F156-282B-A5BDB85145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156" y="-11264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6" name="Kép 765">
            <a:extLst>
              <a:ext uri="{FF2B5EF4-FFF2-40B4-BE49-F238E27FC236}">
                <a16:creationId xmlns:a16="http://schemas.microsoft.com/office/drawing/2014/main" id="{DBBBDE79-C912-10A3-183B-782860C6E2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156" y="-716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7" name="Kép 766">
            <a:extLst>
              <a:ext uri="{FF2B5EF4-FFF2-40B4-BE49-F238E27FC236}">
                <a16:creationId xmlns:a16="http://schemas.microsoft.com/office/drawing/2014/main" id="{06F7C08D-3057-F56B-44CE-E2CDC4F191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9614" y="-716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8" name="Kép 767" descr="A képen szöveg látható&#10;&#10;Automatikusan generált leírás">
            <a:extLst>
              <a:ext uri="{FF2B5EF4-FFF2-40B4-BE49-F238E27FC236}">
                <a16:creationId xmlns:a16="http://schemas.microsoft.com/office/drawing/2014/main" id="{FC93FC61-AC8C-A287-6BEC-9E8CF4AADA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5449" y="-15375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69" name="Kép 768">
            <a:extLst>
              <a:ext uri="{FF2B5EF4-FFF2-40B4-BE49-F238E27FC236}">
                <a16:creationId xmlns:a16="http://schemas.microsoft.com/office/drawing/2014/main" id="{D69AFC93-A78F-D8DC-ED1B-8752413096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1203" y="-153757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0" name="Kép 769">
            <a:extLst>
              <a:ext uri="{FF2B5EF4-FFF2-40B4-BE49-F238E27FC236}">
                <a16:creationId xmlns:a16="http://schemas.microsoft.com/office/drawing/2014/main" id="{8991C85E-DCED-3A12-3813-3C512B8C9D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71" y="-71658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1" name="Kép 770">
            <a:extLst>
              <a:ext uri="{FF2B5EF4-FFF2-40B4-BE49-F238E27FC236}">
                <a16:creationId xmlns:a16="http://schemas.microsoft.com/office/drawing/2014/main" id="{ED367C8F-A755-C578-AEE9-57A7300B26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296" y="-71534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2" name="Kép 771">
            <a:extLst>
              <a:ext uri="{FF2B5EF4-FFF2-40B4-BE49-F238E27FC236}">
                <a16:creationId xmlns:a16="http://schemas.microsoft.com/office/drawing/2014/main" id="{63D0BC9D-32F5-0911-137A-0A5CE523E3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9249" y="-71534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3" name="Kép 772" descr="A képen szöveg látható&#10;&#10;Automatikusan generált leírás">
            <a:extLst>
              <a:ext uri="{FF2B5EF4-FFF2-40B4-BE49-F238E27FC236}">
                <a16:creationId xmlns:a16="http://schemas.microsoft.com/office/drawing/2014/main" id="{4BA382AC-4D5D-9436-728E-ED78FEEABE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542" y="-11264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4" name="Kép 773">
            <a:extLst>
              <a:ext uri="{FF2B5EF4-FFF2-40B4-BE49-F238E27FC236}">
                <a16:creationId xmlns:a16="http://schemas.microsoft.com/office/drawing/2014/main" id="{BE9E0D3E-D96A-422F-CE9A-02F6645A25F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296" y="-11264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5" name="Kép 774">
            <a:extLst>
              <a:ext uri="{FF2B5EF4-FFF2-40B4-BE49-F238E27FC236}">
                <a16:creationId xmlns:a16="http://schemas.microsoft.com/office/drawing/2014/main" id="{40782565-429F-D0AE-3D1C-D8B0BBD124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5108" y="-1948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6" name="Kép 775">
            <a:extLst>
              <a:ext uri="{FF2B5EF4-FFF2-40B4-BE49-F238E27FC236}">
                <a16:creationId xmlns:a16="http://schemas.microsoft.com/office/drawing/2014/main" id="{8BE7429C-3E47-41B6-6EA7-2D3273A406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3566" y="-1948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7" name="Kép 776">
            <a:extLst>
              <a:ext uri="{FF2B5EF4-FFF2-40B4-BE49-F238E27FC236}">
                <a16:creationId xmlns:a16="http://schemas.microsoft.com/office/drawing/2014/main" id="{E601258A-1BF0-5BC7-B3AD-5C92674ABB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023" y="-19480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8" name="Kép 777">
            <a:extLst>
              <a:ext uri="{FF2B5EF4-FFF2-40B4-BE49-F238E27FC236}">
                <a16:creationId xmlns:a16="http://schemas.microsoft.com/office/drawing/2014/main" id="{FFB97328-87D4-3CCD-CBD4-6A39487531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1047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79" name="Kép 778">
            <a:extLst>
              <a:ext uri="{FF2B5EF4-FFF2-40B4-BE49-F238E27FC236}">
                <a16:creationId xmlns:a16="http://schemas.microsoft.com/office/drawing/2014/main" id="{DD902997-67C2-DAE2-FD5A-CB42351106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1047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0" name="Kép 779">
            <a:extLst>
              <a:ext uri="{FF2B5EF4-FFF2-40B4-BE49-F238E27FC236}">
                <a16:creationId xmlns:a16="http://schemas.microsoft.com/office/drawing/2014/main" id="{F3183CF8-E6A4-F045-2206-933F969008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5145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1" name="Kép 780">
            <a:extLst>
              <a:ext uri="{FF2B5EF4-FFF2-40B4-BE49-F238E27FC236}">
                <a16:creationId xmlns:a16="http://schemas.microsoft.com/office/drawing/2014/main" id="{848AE1D9-ECC7-E68B-0B81-15E3B085F1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923" y="51459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2" name="Kép 781" descr="A képen szöveg látható&#10;&#10;Automatikusan generált leírás">
            <a:extLst>
              <a:ext uri="{FF2B5EF4-FFF2-40B4-BE49-F238E27FC236}">
                <a16:creationId xmlns:a16="http://schemas.microsoft.com/office/drawing/2014/main" id="{3347D028-C88D-BBD2-7594-196C71F2F3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758" y="-3063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3" name="Kép 782">
            <a:extLst>
              <a:ext uri="{FF2B5EF4-FFF2-40B4-BE49-F238E27FC236}">
                <a16:creationId xmlns:a16="http://schemas.microsoft.com/office/drawing/2014/main" id="{7893EF49-02E5-423F-49DD-18EFF4DB80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-3063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4" name="Kép 783">
            <a:extLst>
              <a:ext uri="{FF2B5EF4-FFF2-40B4-BE49-F238E27FC236}">
                <a16:creationId xmlns:a16="http://schemas.microsoft.com/office/drawing/2014/main" id="{6CB4107D-D6A5-5DBB-0EDF-BF0CC39141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5142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5" name="Kép 784">
            <a:extLst>
              <a:ext uri="{FF2B5EF4-FFF2-40B4-BE49-F238E27FC236}">
                <a16:creationId xmlns:a16="http://schemas.microsoft.com/office/drawing/2014/main" id="{AAA9ECA9-A15D-E661-9E7C-DF8164B536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925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6" name="Kép 785">
            <a:extLst>
              <a:ext uri="{FF2B5EF4-FFF2-40B4-BE49-F238E27FC236}">
                <a16:creationId xmlns:a16="http://schemas.microsoft.com/office/drawing/2014/main" id="{3FCFDF44-1283-02D8-FEA8-A2F75947E9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45" y="925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7" name="Kép 786">
            <a:extLst>
              <a:ext uri="{FF2B5EF4-FFF2-40B4-BE49-F238E27FC236}">
                <a16:creationId xmlns:a16="http://schemas.microsoft.com/office/drawing/2014/main" id="{34CD2A67-4247-F8FC-1514-FA6A45CAAD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925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8" name="Kép 787">
            <a:extLst>
              <a:ext uri="{FF2B5EF4-FFF2-40B4-BE49-F238E27FC236}">
                <a16:creationId xmlns:a16="http://schemas.microsoft.com/office/drawing/2014/main" id="{61B591D6-5304-314C-4CEA-B3B69FB582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13352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89" name="Kép 788">
            <a:extLst>
              <a:ext uri="{FF2B5EF4-FFF2-40B4-BE49-F238E27FC236}">
                <a16:creationId xmlns:a16="http://schemas.microsoft.com/office/drawing/2014/main" id="{9CEA7C3C-7C6A-4D2A-D4B8-C6A00ECFC8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294" y="13352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0" name="Kép 789" descr="A képen szöveg látható&#10;&#10;Automatikusan generált leírás">
            <a:extLst>
              <a:ext uri="{FF2B5EF4-FFF2-40B4-BE49-F238E27FC236}">
                <a16:creationId xmlns:a16="http://schemas.microsoft.com/office/drawing/2014/main" id="{23009FFF-292B-093B-6A02-2A055A6844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5142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1" name="Kép 790">
            <a:extLst>
              <a:ext uri="{FF2B5EF4-FFF2-40B4-BE49-F238E27FC236}">
                <a16:creationId xmlns:a16="http://schemas.microsoft.com/office/drawing/2014/main" id="{D6D0B6F3-0F78-825A-7352-E84D3020F4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51427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2" name="Kép 791">
            <a:extLst>
              <a:ext uri="{FF2B5EF4-FFF2-40B4-BE49-F238E27FC236}">
                <a16:creationId xmlns:a16="http://schemas.microsoft.com/office/drawing/2014/main" id="{E963D742-5EF5-D632-12DE-F55DFA1C00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751" y="13352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3" name="Kép 792">
            <a:extLst>
              <a:ext uri="{FF2B5EF4-FFF2-40B4-BE49-F238E27FC236}">
                <a16:creationId xmlns:a16="http://schemas.microsoft.com/office/drawing/2014/main" id="{057BB0B0-6B44-2269-E8FC-86FEFFF0C5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13365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4" name="Kép 793">
            <a:extLst>
              <a:ext uri="{FF2B5EF4-FFF2-40B4-BE49-F238E27FC236}">
                <a16:creationId xmlns:a16="http://schemas.microsoft.com/office/drawing/2014/main" id="{756DDEE5-86AB-881E-FD85-3837F7085F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929" y="133651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5" name="Kép 794" descr="A képen szöveg látható&#10;&#10;Automatikusan generált leírás">
            <a:extLst>
              <a:ext uri="{FF2B5EF4-FFF2-40B4-BE49-F238E27FC236}">
                <a16:creationId xmlns:a16="http://schemas.microsoft.com/office/drawing/2014/main" id="{938B3A8D-AEDF-740A-C157-48A6A7D631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22" y="925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6" name="Kép 795">
            <a:extLst>
              <a:ext uri="{FF2B5EF4-FFF2-40B4-BE49-F238E27FC236}">
                <a16:creationId xmlns:a16="http://schemas.microsoft.com/office/drawing/2014/main" id="{A5470D0D-90BA-6C4F-C86B-6750EEAAEE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9253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7" name="Kép 796">
            <a:extLst>
              <a:ext uri="{FF2B5EF4-FFF2-40B4-BE49-F238E27FC236}">
                <a16:creationId xmlns:a16="http://schemas.microsoft.com/office/drawing/2014/main" id="{4527F515-1946-B20C-D7BD-9714E4F514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597" y="-3060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8" name="Kép 797">
            <a:extLst>
              <a:ext uri="{FF2B5EF4-FFF2-40B4-BE49-F238E27FC236}">
                <a16:creationId xmlns:a16="http://schemas.microsoft.com/office/drawing/2014/main" id="{786C5282-C367-FEE7-131F-9EFDFC4F48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788" y="-3060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799" name="Kép 798">
            <a:extLst>
              <a:ext uri="{FF2B5EF4-FFF2-40B4-BE49-F238E27FC236}">
                <a16:creationId xmlns:a16="http://schemas.microsoft.com/office/drawing/2014/main" id="{DB080F44-FE89-0B5C-2836-A59923EC39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788" y="1037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0" name="Kép 799">
            <a:extLst>
              <a:ext uri="{FF2B5EF4-FFF2-40B4-BE49-F238E27FC236}">
                <a16:creationId xmlns:a16="http://schemas.microsoft.com/office/drawing/2014/main" id="{60F3B30E-3809-E1C6-4738-FF35F44426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4246" y="1037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1" name="Kép 800">
            <a:extLst>
              <a:ext uri="{FF2B5EF4-FFF2-40B4-BE49-F238E27FC236}">
                <a16:creationId xmlns:a16="http://schemas.microsoft.com/office/drawing/2014/main" id="{430676B4-78C7-3CED-05F5-03757099AB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703" y="10378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2" name="Kép 801">
            <a:extLst>
              <a:ext uri="{FF2B5EF4-FFF2-40B4-BE49-F238E27FC236}">
                <a16:creationId xmlns:a16="http://schemas.microsoft.com/office/drawing/2014/main" id="{BFFE7785-6055-23D9-D777-702CFF8955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1025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3" name="Kép 802">
            <a:extLst>
              <a:ext uri="{FF2B5EF4-FFF2-40B4-BE49-F238E27FC236}">
                <a16:creationId xmlns:a16="http://schemas.microsoft.com/office/drawing/2014/main" id="{C131854F-A236-B66B-6664-D14A0CA3A9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1025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4" name="Kép 803">
            <a:extLst>
              <a:ext uri="{FF2B5EF4-FFF2-40B4-BE49-F238E27FC236}">
                <a16:creationId xmlns:a16="http://schemas.microsoft.com/office/drawing/2014/main" id="{C380C4AC-16CB-98D5-C02A-6099CAD31A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5124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5" name="Kép 804">
            <a:extLst>
              <a:ext uri="{FF2B5EF4-FFF2-40B4-BE49-F238E27FC236}">
                <a16:creationId xmlns:a16="http://schemas.microsoft.com/office/drawing/2014/main" id="{CBAA04ED-9A72-1329-419D-553D25277C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354" y="5124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6" name="Kép 805">
            <a:extLst>
              <a:ext uri="{FF2B5EF4-FFF2-40B4-BE49-F238E27FC236}">
                <a16:creationId xmlns:a16="http://schemas.microsoft.com/office/drawing/2014/main" id="{EEC7E527-5E64-B2B5-1D64-68C188A72D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5121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7" name="Kép 806">
            <a:extLst>
              <a:ext uri="{FF2B5EF4-FFF2-40B4-BE49-F238E27FC236}">
                <a16:creationId xmlns:a16="http://schemas.microsoft.com/office/drawing/2014/main" id="{7F965657-2E9D-7F12-4307-8DBFA90987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9232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8" name="Kép 807">
            <a:extLst>
              <a:ext uri="{FF2B5EF4-FFF2-40B4-BE49-F238E27FC236}">
                <a16:creationId xmlns:a16="http://schemas.microsoft.com/office/drawing/2014/main" id="{B0E94356-7463-EAA2-6E75-4BD110C1359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076" y="9232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09" name="Kép 808">
            <a:extLst>
              <a:ext uri="{FF2B5EF4-FFF2-40B4-BE49-F238E27FC236}">
                <a16:creationId xmlns:a16="http://schemas.microsoft.com/office/drawing/2014/main" id="{983BDC0C-8855-2F80-EA32-538F046AA1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9232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0" name="Kép 809">
            <a:extLst>
              <a:ext uri="{FF2B5EF4-FFF2-40B4-BE49-F238E27FC236}">
                <a16:creationId xmlns:a16="http://schemas.microsoft.com/office/drawing/2014/main" id="{EDBC4139-4024-C7A5-31FD-3B777DDD9C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13331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1" name="Kép 810">
            <a:extLst>
              <a:ext uri="{FF2B5EF4-FFF2-40B4-BE49-F238E27FC236}">
                <a16:creationId xmlns:a16="http://schemas.microsoft.com/office/drawing/2014/main" id="{268863C7-DFDD-6F6F-0454-19F0B3D2B0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725" y="13331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2" name="Kép 811" descr="A képen szöveg látható&#10;&#10;Automatikusan generált leírás">
            <a:extLst>
              <a:ext uri="{FF2B5EF4-FFF2-40B4-BE49-F238E27FC236}">
                <a16:creationId xmlns:a16="http://schemas.microsoft.com/office/drawing/2014/main" id="{B5C2148A-D26D-4C78-23B0-3EB3201793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5121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3" name="Kép 812">
            <a:extLst>
              <a:ext uri="{FF2B5EF4-FFF2-40B4-BE49-F238E27FC236}">
                <a16:creationId xmlns:a16="http://schemas.microsoft.com/office/drawing/2014/main" id="{088A5C9C-24AE-6C1B-41B8-6B46BA24DE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5121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4" name="Kép 813">
            <a:extLst>
              <a:ext uri="{FF2B5EF4-FFF2-40B4-BE49-F238E27FC236}">
                <a16:creationId xmlns:a16="http://schemas.microsoft.com/office/drawing/2014/main" id="{FECC210F-6D12-59D8-51D5-DED35A7C95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182" y="13331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5" name="Kép 814">
            <a:extLst>
              <a:ext uri="{FF2B5EF4-FFF2-40B4-BE49-F238E27FC236}">
                <a16:creationId xmlns:a16="http://schemas.microsoft.com/office/drawing/2014/main" id="{9AF2CB7E-E055-C5D2-A720-E09ABF0063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13343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6" name="Kép 815">
            <a:extLst>
              <a:ext uri="{FF2B5EF4-FFF2-40B4-BE49-F238E27FC236}">
                <a16:creationId xmlns:a16="http://schemas.microsoft.com/office/drawing/2014/main" id="{405283B6-3686-A6A8-70AC-7811076686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360" y="13343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7" name="Kép 816" descr="A képen szöveg látható&#10;&#10;Automatikusan generált leírás">
            <a:extLst>
              <a:ext uri="{FF2B5EF4-FFF2-40B4-BE49-F238E27FC236}">
                <a16:creationId xmlns:a16="http://schemas.microsoft.com/office/drawing/2014/main" id="{25C78DD4-9706-9362-0EF7-2E0C211F31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653" y="9232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8" name="Kép 817">
            <a:extLst>
              <a:ext uri="{FF2B5EF4-FFF2-40B4-BE49-F238E27FC236}">
                <a16:creationId xmlns:a16="http://schemas.microsoft.com/office/drawing/2014/main" id="{9089E4A8-5647-0E8A-C8CE-6B64B2557C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9232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19" name="Kép 818">
            <a:extLst>
              <a:ext uri="{FF2B5EF4-FFF2-40B4-BE49-F238E27FC236}">
                <a16:creationId xmlns:a16="http://schemas.microsoft.com/office/drawing/2014/main" id="{D5889558-0D8E-1C6D-6EBA-C5F3103DE4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19" y="1016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0" name="Kép 819">
            <a:extLst>
              <a:ext uri="{FF2B5EF4-FFF2-40B4-BE49-F238E27FC236}">
                <a16:creationId xmlns:a16="http://schemas.microsoft.com/office/drawing/2014/main" id="{355395F7-AF10-627D-BBF3-BEDDCB795C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677" y="1016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1" name="Kép 820">
            <a:extLst>
              <a:ext uri="{FF2B5EF4-FFF2-40B4-BE49-F238E27FC236}">
                <a16:creationId xmlns:a16="http://schemas.microsoft.com/office/drawing/2014/main" id="{3D1A8DD8-CDD5-68B4-BF57-AEE5D0156B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5134" y="1016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2" name="Kép 821">
            <a:extLst>
              <a:ext uri="{FF2B5EF4-FFF2-40B4-BE49-F238E27FC236}">
                <a16:creationId xmlns:a16="http://schemas.microsoft.com/office/drawing/2014/main" id="{F58773A2-C6A6-A020-52BD-CE3073D105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472" y="-3063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3" name="Kép 822">
            <a:extLst>
              <a:ext uri="{FF2B5EF4-FFF2-40B4-BE49-F238E27FC236}">
                <a16:creationId xmlns:a16="http://schemas.microsoft.com/office/drawing/2014/main" id="{E9B75FE2-0F37-8E5F-2E50-FC9CAD1A64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620" y="-19522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4" name="Kép 823">
            <a:extLst>
              <a:ext uri="{FF2B5EF4-FFF2-40B4-BE49-F238E27FC236}">
                <a16:creationId xmlns:a16="http://schemas.microsoft.com/office/drawing/2014/main" id="{6ADF3954-DF1F-0447-22A9-37B5072BC8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648" y="-15401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5" name="Kép 824">
            <a:extLst>
              <a:ext uri="{FF2B5EF4-FFF2-40B4-BE49-F238E27FC236}">
                <a16:creationId xmlns:a16="http://schemas.microsoft.com/office/drawing/2014/main" id="{BAF80AE6-BB4E-CD06-E3AA-4969A8BB57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601" y="-154013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6" name="Kép 825">
            <a:extLst>
              <a:ext uri="{FF2B5EF4-FFF2-40B4-BE49-F238E27FC236}">
                <a16:creationId xmlns:a16="http://schemas.microsoft.com/office/drawing/2014/main" id="{04662EF8-C248-C8BC-7991-90F659720A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601" y="-11302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7" name="Kép 826">
            <a:extLst>
              <a:ext uri="{FF2B5EF4-FFF2-40B4-BE49-F238E27FC236}">
                <a16:creationId xmlns:a16="http://schemas.microsoft.com/office/drawing/2014/main" id="{4210789D-DD50-1797-A966-C286B5993A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3059" y="-11302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8" name="Kép 827" descr="A képen szöveg látható&#10;&#10;Automatikusan generált leírás">
            <a:extLst>
              <a:ext uri="{FF2B5EF4-FFF2-40B4-BE49-F238E27FC236}">
                <a16:creationId xmlns:a16="http://schemas.microsoft.com/office/drawing/2014/main" id="{E729D13C-DC3E-B887-275A-1244F71738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894" y="-195125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29" name="Kép 828">
            <a:extLst>
              <a:ext uri="{FF2B5EF4-FFF2-40B4-BE49-F238E27FC236}">
                <a16:creationId xmlns:a16="http://schemas.microsoft.com/office/drawing/2014/main" id="{65BF531B-F8EE-54EE-01AF-8CC9C36BE6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648" y="-195125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0" name="Kép 829">
            <a:extLst>
              <a:ext uri="{FF2B5EF4-FFF2-40B4-BE49-F238E27FC236}">
                <a16:creationId xmlns:a16="http://schemas.microsoft.com/office/drawing/2014/main" id="{C04C30F2-9218-B965-4DA7-C6892A2220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648" y="-11305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1" name="Kép 830">
            <a:extLst>
              <a:ext uri="{FF2B5EF4-FFF2-40B4-BE49-F238E27FC236}">
                <a16:creationId xmlns:a16="http://schemas.microsoft.com/office/drawing/2014/main" id="{6EEA63F1-C7F5-3C7C-A66E-60968684FD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019" y="-7194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2" name="Kép 831">
            <a:extLst>
              <a:ext uri="{FF2B5EF4-FFF2-40B4-BE49-F238E27FC236}">
                <a16:creationId xmlns:a16="http://schemas.microsoft.com/office/drawing/2014/main" id="{AF2F4567-CCFF-7840-7E89-311F4B113A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3781" y="-7194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3" name="Kép 832">
            <a:extLst>
              <a:ext uri="{FF2B5EF4-FFF2-40B4-BE49-F238E27FC236}">
                <a16:creationId xmlns:a16="http://schemas.microsoft.com/office/drawing/2014/main" id="{0734BBFF-2639-49F0-A5BF-C20BD0BCA1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972" y="-7194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4" name="Kép 833">
            <a:extLst>
              <a:ext uri="{FF2B5EF4-FFF2-40B4-BE49-F238E27FC236}">
                <a16:creationId xmlns:a16="http://schemas.microsoft.com/office/drawing/2014/main" id="{20A97067-77A8-9BEB-0CE8-D8EF48375D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972" y="-3095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5" name="Kép 834">
            <a:extLst>
              <a:ext uri="{FF2B5EF4-FFF2-40B4-BE49-F238E27FC236}">
                <a16:creationId xmlns:a16="http://schemas.microsoft.com/office/drawing/2014/main" id="{8EF7CE9E-FA54-6BF6-0E68-5FFC0F3B99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430" y="-3095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6" name="Kép 835" descr="A képen szöveg látható&#10;&#10;Automatikusan generált leírás">
            <a:extLst>
              <a:ext uri="{FF2B5EF4-FFF2-40B4-BE49-F238E27FC236}">
                <a16:creationId xmlns:a16="http://schemas.microsoft.com/office/drawing/2014/main" id="{DA7960AE-3FCB-8A48-B3D1-85426E72AB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265" y="-11305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7" name="Kép 836">
            <a:extLst>
              <a:ext uri="{FF2B5EF4-FFF2-40B4-BE49-F238E27FC236}">
                <a16:creationId xmlns:a16="http://schemas.microsoft.com/office/drawing/2014/main" id="{12F4218A-AFB8-8BEE-06C9-EF9C1C0791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019" y="-11305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8" name="Kép 837">
            <a:extLst>
              <a:ext uri="{FF2B5EF4-FFF2-40B4-BE49-F238E27FC236}">
                <a16:creationId xmlns:a16="http://schemas.microsoft.com/office/drawing/2014/main" id="{2D0776F8-0CC8-C8FA-E857-0EEFAF7D35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0887" y="-3095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39" name="Kép 838">
            <a:extLst>
              <a:ext uri="{FF2B5EF4-FFF2-40B4-BE49-F238E27FC236}">
                <a16:creationId xmlns:a16="http://schemas.microsoft.com/office/drawing/2014/main" id="{D3E82D6D-9E15-ABF3-9948-3EFCEE1B73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12" y="-3083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0" name="Kép 839">
            <a:extLst>
              <a:ext uri="{FF2B5EF4-FFF2-40B4-BE49-F238E27FC236}">
                <a16:creationId xmlns:a16="http://schemas.microsoft.com/office/drawing/2014/main" id="{4F518B67-64FE-6EB7-373F-A5FD348DA6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065" y="-3083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1" name="Kép 840" descr="A képen szöveg látható&#10;&#10;Automatikusan generált leírás">
            <a:extLst>
              <a:ext uri="{FF2B5EF4-FFF2-40B4-BE49-F238E27FC236}">
                <a16:creationId xmlns:a16="http://schemas.microsoft.com/office/drawing/2014/main" id="{69343769-C628-C573-16DC-EBD91A67D2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6358" y="-7194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2" name="Kép 841">
            <a:extLst>
              <a:ext uri="{FF2B5EF4-FFF2-40B4-BE49-F238E27FC236}">
                <a16:creationId xmlns:a16="http://schemas.microsoft.com/office/drawing/2014/main" id="{722AF42B-0195-C35E-C10A-6A57B37C36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12" y="-7194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3" name="Kép 842">
            <a:extLst>
              <a:ext uri="{FF2B5EF4-FFF2-40B4-BE49-F238E27FC236}">
                <a16:creationId xmlns:a16="http://schemas.microsoft.com/office/drawing/2014/main" id="{E657A227-D9A5-215B-5BB7-F272F7C8C4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7733" y="-19509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4" name="Kép 843">
            <a:extLst>
              <a:ext uri="{FF2B5EF4-FFF2-40B4-BE49-F238E27FC236}">
                <a16:creationId xmlns:a16="http://schemas.microsoft.com/office/drawing/2014/main" id="{038631C7-ED8D-98B9-E94F-7CE41DE2EC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924" y="-19509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5" name="Kép 844">
            <a:extLst>
              <a:ext uri="{FF2B5EF4-FFF2-40B4-BE49-F238E27FC236}">
                <a16:creationId xmlns:a16="http://schemas.microsoft.com/office/drawing/2014/main" id="{6087B19B-7F51-4519-E4E8-77FB5BA496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924" y="-15410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6" name="Kép 845">
            <a:extLst>
              <a:ext uri="{FF2B5EF4-FFF2-40B4-BE49-F238E27FC236}">
                <a16:creationId xmlns:a16="http://schemas.microsoft.com/office/drawing/2014/main" id="{1682FCED-D73D-69FB-6B07-CC2D3DA5F3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382" y="-15410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7" name="Kép 846">
            <a:extLst>
              <a:ext uri="{FF2B5EF4-FFF2-40B4-BE49-F238E27FC236}">
                <a16:creationId xmlns:a16="http://schemas.microsoft.com/office/drawing/2014/main" id="{DD2A1D8F-7259-AA79-570D-1898ABF584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839" y="-15410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8" name="Kép 847">
            <a:extLst>
              <a:ext uri="{FF2B5EF4-FFF2-40B4-BE49-F238E27FC236}">
                <a16:creationId xmlns:a16="http://schemas.microsoft.com/office/drawing/2014/main" id="{3431F3B3-BFB0-F30F-41B6-47C31EED67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705" y="-19509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49" name="Kép 848">
            <a:extLst>
              <a:ext uri="{FF2B5EF4-FFF2-40B4-BE49-F238E27FC236}">
                <a16:creationId xmlns:a16="http://schemas.microsoft.com/office/drawing/2014/main" id="{EB23CD03-676E-7044-4AA6-F9FB6AA24F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658" y="-19509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0" name="Kép 849">
            <a:extLst>
              <a:ext uri="{FF2B5EF4-FFF2-40B4-BE49-F238E27FC236}">
                <a16:creationId xmlns:a16="http://schemas.microsoft.com/office/drawing/2014/main" id="{01A83128-0DA8-3A92-EF5A-3759F48B53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658" y="-15410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1" name="Kép 850">
            <a:extLst>
              <a:ext uri="{FF2B5EF4-FFF2-40B4-BE49-F238E27FC236}">
                <a16:creationId xmlns:a16="http://schemas.microsoft.com/office/drawing/2014/main" id="{698A9A54-6DC8-585E-A874-61D6BA09F5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116" y="-15410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2" name="Kép 851">
            <a:extLst>
              <a:ext uri="{FF2B5EF4-FFF2-40B4-BE49-F238E27FC236}">
                <a16:creationId xmlns:a16="http://schemas.microsoft.com/office/drawing/2014/main" id="{C6222956-A16A-1863-2188-89DE59AAD2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705" y="-15413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3" name="Kép 852">
            <a:extLst>
              <a:ext uri="{FF2B5EF4-FFF2-40B4-BE49-F238E27FC236}">
                <a16:creationId xmlns:a16="http://schemas.microsoft.com/office/drawing/2014/main" id="{CA0A4E14-A587-AD89-37DC-928A7D05DF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076" y="-11302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4" name="Kép 853">
            <a:extLst>
              <a:ext uri="{FF2B5EF4-FFF2-40B4-BE49-F238E27FC236}">
                <a16:creationId xmlns:a16="http://schemas.microsoft.com/office/drawing/2014/main" id="{8777DB44-674E-B804-1945-F2719216820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38" y="-11302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5" name="Kép 854">
            <a:extLst>
              <a:ext uri="{FF2B5EF4-FFF2-40B4-BE49-F238E27FC236}">
                <a16:creationId xmlns:a16="http://schemas.microsoft.com/office/drawing/2014/main" id="{5E27F62C-16D6-6B66-2B87-6F876A2703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029" y="-11302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6" name="Kép 855">
            <a:extLst>
              <a:ext uri="{FF2B5EF4-FFF2-40B4-BE49-F238E27FC236}">
                <a16:creationId xmlns:a16="http://schemas.microsoft.com/office/drawing/2014/main" id="{B56E8441-DE33-8716-8833-B3D5B2B6DC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029" y="-7203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7" name="Kép 856">
            <a:extLst>
              <a:ext uri="{FF2B5EF4-FFF2-40B4-BE49-F238E27FC236}">
                <a16:creationId xmlns:a16="http://schemas.microsoft.com/office/drawing/2014/main" id="{56A7C977-2305-98FC-569C-4A4202779B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7487" y="-7203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8" name="Kép 857" descr="A képen szöveg látható&#10;&#10;Automatikusan generált leírás">
            <a:extLst>
              <a:ext uri="{FF2B5EF4-FFF2-40B4-BE49-F238E27FC236}">
                <a16:creationId xmlns:a16="http://schemas.microsoft.com/office/drawing/2014/main" id="{7F1681EB-8FCC-6FCD-93A2-6E2EE4C5DC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3322" y="-15413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59" name="Kép 858">
            <a:extLst>
              <a:ext uri="{FF2B5EF4-FFF2-40B4-BE49-F238E27FC236}">
                <a16:creationId xmlns:a16="http://schemas.microsoft.com/office/drawing/2014/main" id="{3D005A3E-B626-108B-EF08-CD8A866554B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076" y="-15413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0" name="Kép 859">
            <a:extLst>
              <a:ext uri="{FF2B5EF4-FFF2-40B4-BE49-F238E27FC236}">
                <a16:creationId xmlns:a16="http://schemas.microsoft.com/office/drawing/2014/main" id="{43E5C76C-4883-4610-2C90-4C8BAFA05F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944" y="-72039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1" name="Kép 860">
            <a:extLst>
              <a:ext uri="{FF2B5EF4-FFF2-40B4-BE49-F238E27FC236}">
                <a16:creationId xmlns:a16="http://schemas.microsoft.com/office/drawing/2014/main" id="{AF3AF958-944E-ACCF-1DF1-448C682B6F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169" y="-7191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2" name="Kép 861">
            <a:extLst>
              <a:ext uri="{FF2B5EF4-FFF2-40B4-BE49-F238E27FC236}">
                <a16:creationId xmlns:a16="http://schemas.microsoft.com/office/drawing/2014/main" id="{85D96569-8E3A-F244-98EC-15D56C7F8F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7122" y="-71915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3" name="Kép 862" descr="A képen szöveg látható&#10;&#10;Automatikusan generált leírás">
            <a:extLst>
              <a:ext uri="{FF2B5EF4-FFF2-40B4-BE49-F238E27FC236}">
                <a16:creationId xmlns:a16="http://schemas.microsoft.com/office/drawing/2014/main" id="{CC2142B1-37B1-E5E5-98EE-475C8474BB2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15" y="-11302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4" name="Kép 863">
            <a:extLst>
              <a:ext uri="{FF2B5EF4-FFF2-40B4-BE49-F238E27FC236}">
                <a16:creationId xmlns:a16="http://schemas.microsoft.com/office/drawing/2014/main" id="{D66663E5-C931-0C9E-C717-FDE636529E1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169" y="-113026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5" name="Kép 864">
            <a:extLst>
              <a:ext uri="{FF2B5EF4-FFF2-40B4-BE49-F238E27FC236}">
                <a16:creationId xmlns:a16="http://schemas.microsoft.com/office/drawing/2014/main" id="{02E762C5-39FE-1D62-AA0F-00CD39334D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981" y="-19518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6" name="Kép 865">
            <a:extLst>
              <a:ext uri="{FF2B5EF4-FFF2-40B4-BE49-F238E27FC236}">
                <a16:creationId xmlns:a16="http://schemas.microsoft.com/office/drawing/2014/main" id="{8DEC987F-E007-EC37-3AEA-59FB6E187E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439" y="-19518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7" name="Kép 866">
            <a:extLst>
              <a:ext uri="{FF2B5EF4-FFF2-40B4-BE49-F238E27FC236}">
                <a16:creationId xmlns:a16="http://schemas.microsoft.com/office/drawing/2014/main" id="{4DAB646E-9EDC-95DB-18E2-7E85573A3E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896" y="-19518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8" name="Kép 867">
            <a:extLst>
              <a:ext uri="{FF2B5EF4-FFF2-40B4-BE49-F238E27FC236}">
                <a16:creationId xmlns:a16="http://schemas.microsoft.com/office/drawing/2014/main" id="{78AB0D34-D7B4-001D-7582-3465685232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100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69" name="Kép 868">
            <a:extLst>
              <a:ext uri="{FF2B5EF4-FFF2-40B4-BE49-F238E27FC236}">
                <a16:creationId xmlns:a16="http://schemas.microsoft.com/office/drawing/2014/main" id="{9A72DE23-65A7-6E91-F827-44BD7A9AC7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100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0" name="Kép 869">
            <a:extLst>
              <a:ext uri="{FF2B5EF4-FFF2-40B4-BE49-F238E27FC236}">
                <a16:creationId xmlns:a16="http://schemas.microsoft.com/office/drawing/2014/main" id="{875B496A-4264-937E-207C-F2A0FD4CEC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510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1" name="Kép 870">
            <a:extLst>
              <a:ext uri="{FF2B5EF4-FFF2-40B4-BE49-F238E27FC236}">
                <a16:creationId xmlns:a16="http://schemas.microsoft.com/office/drawing/2014/main" id="{D71C4B73-B4DB-6593-0FC1-0C9CA165EC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796" y="51078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2" name="Kép 871" descr="A képen szöveg látható&#10;&#10;Automatikusan generált leírás">
            <a:extLst>
              <a:ext uri="{FF2B5EF4-FFF2-40B4-BE49-F238E27FC236}">
                <a16:creationId xmlns:a16="http://schemas.microsoft.com/office/drawing/2014/main" id="{DCF7105B-C5DF-5976-6A32-6036992C276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4631" y="-3102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3" name="Kép 872">
            <a:extLst>
              <a:ext uri="{FF2B5EF4-FFF2-40B4-BE49-F238E27FC236}">
                <a16:creationId xmlns:a16="http://schemas.microsoft.com/office/drawing/2014/main" id="{7C0EB39E-A70F-2ABC-7BDB-A3ECEFC5FB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-3102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4" name="Kép 873">
            <a:extLst>
              <a:ext uri="{FF2B5EF4-FFF2-40B4-BE49-F238E27FC236}">
                <a16:creationId xmlns:a16="http://schemas.microsoft.com/office/drawing/2014/main" id="{5AEE6F61-D428-8DD1-208A-9C94A56A9F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510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5" name="Kép 874">
            <a:extLst>
              <a:ext uri="{FF2B5EF4-FFF2-40B4-BE49-F238E27FC236}">
                <a16:creationId xmlns:a16="http://schemas.microsoft.com/office/drawing/2014/main" id="{1BDCD682-4A6E-A042-BE4E-9EF734B568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921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6" name="Kép 875">
            <a:extLst>
              <a:ext uri="{FF2B5EF4-FFF2-40B4-BE49-F238E27FC236}">
                <a16:creationId xmlns:a16="http://schemas.microsoft.com/office/drawing/2014/main" id="{7CC18659-0408-70B8-D86F-6707BA7BB3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18" y="921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7" name="Kép 876">
            <a:extLst>
              <a:ext uri="{FF2B5EF4-FFF2-40B4-BE49-F238E27FC236}">
                <a16:creationId xmlns:a16="http://schemas.microsoft.com/office/drawing/2014/main" id="{CD16E03B-7B24-15D1-D3FD-BCB2ADA96D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921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8" name="Kép 877">
            <a:extLst>
              <a:ext uri="{FF2B5EF4-FFF2-40B4-BE49-F238E27FC236}">
                <a16:creationId xmlns:a16="http://schemas.microsoft.com/office/drawing/2014/main" id="{74E79786-732B-C27A-8ADA-796C8E3C5C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1331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79" name="Kép 878">
            <a:extLst>
              <a:ext uri="{FF2B5EF4-FFF2-40B4-BE49-F238E27FC236}">
                <a16:creationId xmlns:a16="http://schemas.microsoft.com/office/drawing/2014/main" id="{D92E3803-4D0A-EB45-421B-FD4FB1FDAE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167" y="1331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0" name="Kép 879" descr="A képen szöveg látható&#10;&#10;Automatikusan generált leírás">
            <a:extLst>
              <a:ext uri="{FF2B5EF4-FFF2-40B4-BE49-F238E27FC236}">
                <a16:creationId xmlns:a16="http://schemas.microsoft.com/office/drawing/2014/main" id="{1F3C1621-FD24-4697-8EC8-2BDF5A9B27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002" y="510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1" name="Kép 880">
            <a:extLst>
              <a:ext uri="{FF2B5EF4-FFF2-40B4-BE49-F238E27FC236}">
                <a16:creationId xmlns:a16="http://schemas.microsoft.com/office/drawing/2014/main" id="{6B95C46B-D519-887F-3763-EBFDF00078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510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2" name="Kép 881">
            <a:extLst>
              <a:ext uri="{FF2B5EF4-FFF2-40B4-BE49-F238E27FC236}">
                <a16:creationId xmlns:a16="http://schemas.microsoft.com/office/drawing/2014/main" id="{78965DFD-6615-B365-43DD-E326E0AA38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624" y="133145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3" name="Kép 882">
            <a:extLst>
              <a:ext uri="{FF2B5EF4-FFF2-40B4-BE49-F238E27FC236}">
                <a16:creationId xmlns:a16="http://schemas.microsoft.com/office/drawing/2014/main" id="{0512F5B0-26C8-076A-A5FB-0F44FBC81E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13327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4" name="Kép 883">
            <a:extLst>
              <a:ext uri="{FF2B5EF4-FFF2-40B4-BE49-F238E27FC236}">
                <a16:creationId xmlns:a16="http://schemas.microsoft.com/office/drawing/2014/main" id="{66BD69CF-9A27-8A40-301C-76C7FD9247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02" y="133270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5" name="Kép 884" descr="A képen szöveg látható&#10;&#10;Automatikusan generált leírás">
            <a:extLst>
              <a:ext uri="{FF2B5EF4-FFF2-40B4-BE49-F238E27FC236}">
                <a16:creationId xmlns:a16="http://schemas.microsoft.com/office/drawing/2014/main" id="{3DE24233-1078-6EB6-0DDF-58AA479F90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095" y="921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6" name="Kép 885">
            <a:extLst>
              <a:ext uri="{FF2B5EF4-FFF2-40B4-BE49-F238E27FC236}">
                <a16:creationId xmlns:a16="http://schemas.microsoft.com/office/drawing/2014/main" id="{B2246B25-D410-970E-B3F8-0371193875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92158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7" name="Kép 886">
            <a:extLst>
              <a:ext uri="{FF2B5EF4-FFF2-40B4-BE49-F238E27FC236}">
                <a16:creationId xmlns:a16="http://schemas.microsoft.com/office/drawing/2014/main" id="{EAB254D6-4DEE-40BD-A24E-24F259B4427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470" y="-3098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8" name="Kép 887">
            <a:extLst>
              <a:ext uri="{FF2B5EF4-FFF2-40B4-BE49-F238E27FC236}">
                <a16:creationId xmlns:a16="http://schemas.microsoft.com/office/drawing/2014/main" id="{D0CFA2CD-9AEA-BAE7-28E6-E5B409523E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661" y="-30989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89" name="Kép 888">
            <a:extLst>
              <a:ext uri="{FF2B5EF4-FFF2-40B4-BE49-F238E27FC236}">
                <a16:creationId xmlns:a16="http://schemas.microsoft.com/office/drawing/2014/main" id="{5800A129-7A0A-F52C-2933-69A8E379BB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661" y="99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0" name="Kép 889">
            <a:extLst>
              <a:ext uri="{FF2B5EF4-FFF2-40B4-BE49-F238E27FC236}">
                <a16:creationId xmlns:a16="http://schemas.microsoft.com/office/drawing/2014/main" id="{37570A22-5E2F-2FBC-13D9-BCBA7041F8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119" y="99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1" name="Kép 890">
            <a:extLst>
              <a:ext uri="{FF2B5EF4-FFF2-40B4-BE49-F238E27FC236}">
                <a16:creationId xmlns:a16="http://schemas.microsoft.com/office/drawing/2014/main" id="{993C2A07-5733-9B4E-AA43-01A5FE57BA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576" y="999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2" name="Kép 891">
            <a:extLst>
              <a:ext uri="{FF2B5EF4-FFF2-40B4-BE49-F238E27FC236}">
                <a16:creationId xmlns:a16="http://schemas.microsoft.com/office/drawing/2014/main" id="{BB3DA931-7815-670C-F806-F9B2A4AF7F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987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3" name="Kép 892">
            <a:extLst>
              <a:ext uri="{FF2B5EF4-FFF2-40B4-BE49-F238E27FC236}">
                <a16:creationId xmlns:a16="http://schemas.microsoft.com/office/drawing/2014/main" id="{984772D3-7AB8-136A-D457-4EA67231CC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9876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4" name="Kép 893">
            <a:extLst>
              <a:ext uri="{FF2B5EF4-FFF2-40B4-BE49-F238E27FC236}">
                <a16:creationId xmlns:a16="http://schemas.microsoft.com/office/drawing/2014/main" id="{17AF45B7-AE9F-FFA7-5CEA-8BC60B0FEA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5086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5" name="Kép 894">
            <a:extLst>
              <a:ext uri="{FF2B5EF4-FFF2-40B4-BE49-F238E27FC236}">
                <a16:creationId xmlns:a16="http://schemas.microsoft.com/office/drawing/2014/main" id="{22E8FE57-0CD2-ED4D-7028-FF874F33C9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227" y="5086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6" name="Kép 895">
            <a:extLst>
              <a:ext uri="{FF2B5EF4-FFF2-40B4-BE49-F238E27FC236}">
                <a16:creationId xmlns:a16="http://schemas.microsoft.com/office/drawing/2014/main" id="{0866AC7B-A032-2F56-34A9-95176B5E50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5083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7" name="Kép 896">
            <a:extLst>
              <a:ext uri="{FF2B5EF4-FFF2-40B4-BE49-F238E27FC236}">
                <a16:creationId xmlns:a16="http://schemas.microsoft.com/office/drawing/2014/main" id="{8D5AAB17-67D1-65C9-7E91-DA5FE9AAB5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9194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8" name="Kép 897">
            <a:extLst>
              <a:ext uri="{FF2B5EF4-FFF2-40B4-BE49-F238E27FC236}">
                <a16:creationId xmlns:a16="http://schemas.microsoft.com/office/drawing/2014/main" id="{00EF4D56-84F1-B5CE-AF1A-35C6610FDE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949" y="9194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99" name="Kép 898">
            <a:extLst>
              <a:ext uri="{FF2B5EF4-FFF2-40B4-BE49-F238E27FC236}">
                <a16:creationId xmlns:a16="http://schemas.microsoft.com/office/drawing/2014/main" id="{D2F9A6D1-6E86-D3CD-1AD2-C4DE1FC430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9194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0" name="Kép 899">
            <a:extLst>
              <a:ext uri="{FF2B5EF4-FFF2-40B4-BE49-F238E27FC236}">
                <a16:creationId xmlns:a16="http://schemas.microsoft.com/office/drawing/2014/main" id="{4E32597B-5CA9-9AD1-F61C-38A1C10EB6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13293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1" name="Kép 900">
            <a:extLst>
              <a:ext uri="{FF2B5EF4-FFF2-40B4-BE49-F238E27FC236}">
                <a16:creationId xmlns:a16="http://schemas.microsoft.com/office/drawing/2014/main" id="{84437268-E662-0DF1-F6FD-D6B7385441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98" y="13293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2" name="Kép 901" descr="A képen szöveg látható&#10;&#10;Automatikusan generált leírás">
            <a:extLst>
              <a:ext uri="{FF2B5EF4-FFF2-40B4-BE49-F238E27FC236}">
                <a16:creationId xmlns:a16="http://schemas.microsoft.com/office/drawing/2014/main" id="{334CFDEA-5CDC-5B62-9FE9-82F4EE3339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6433" y="5083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3" name="Kép 902">
            <a:extLst>
              <a:ext uri="{FF2B5EF4-FFF2-40B4-BE49-F238E27FC236}">
                <a16:creationId xmlns:a16="http://schemas.microsoft.com/office/drawing/2014/main" id="{FC87B725-5317-F41F-49F2-12BD9563E3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50832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4" name="Kép 903">
            <a:extLst>
              <a:ext uri="{FF2B5EF4-FFF2-40B4-BE49-F238E27FC236}">
                <a16:creationId xmlns:a16="http://schemas.microsoft.com/office/drawing/2014/main" id="{C85A2197-845F-178D-78C1-AA02B77167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055" y="13293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5" name="Kép 904">
            <a:extLst>
              <a:ext uri="{FF2B5EF4-FFF2-40B4-BE49-F238E27FC236}">
                <a16:creationId xmlns:a16="http://schemas.microsoft.com/office/drawing/2014/main" id="{42C788A9-A55C-9E16-D7AF-519916E1CA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13305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6" name="Kép 905">
            <a:extLst>
              <a:ext uri="{FF2B5EF4-FFF2-40B4-BE49-F238E27FC236}">
                <a16:creationId xmlns:a16="http://schemas.microsoft.com/office/drawing/2014/main" id="{1367F670-69C6-D9B7-F4AD-C54F402ED5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233" y="13305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7" name="Kép 906" descr="A képen szöveg látható&#10;&#10;Automatikusan generált leírás">
            <a:extLst>
              <a:ext uri="{FF2B5EF4-FFF2-40B4-BE49-F238E27FC236}">
                <a16:creationId xmlns:a16="http://schemas.microsoft.com/office/drawing/2014/main" id="{EECC14DD-BFA6-AD2C-20C4-2D76B37065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26" y="9194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8" name="Kép 907">
            <a:extLst>
              <a:ext uri="{FF2B5EF4-FFF2-40B4-BE49-F238E27FC236}">
                <a16:creationId xmlns:a16="http://schemas.microsoft.com/office/drawing/2014/main" id="{F14410A3-CEA0-88D8-1520-4A8783C12A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91944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09" name="Kép 908">
            <a:extLst>
              <a:ext uri="{FF2B5EF4-FFF2-40B4-BE49-F238E27FC236}">
                <a16:creationId xmlns:a16="http://schemas.microsoft.com/office/drawing/2014/main" id="{AA921A98-BE98-FDED-CDAC-C4412F2838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092" y="978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0" name="Kép 909">
            <a:extLst>
              <a:ext uri="{FF2B5EF4-FFF2-40B4-BE49-F238E27FC236}">
                <a16:creationId xmlns:a16="http://schemas.microsoft.com/office/drawing/2014/main" id="{52D80370-CF9A-F954-0A02-CBFD13E458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550" y="978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1" name="Kép 910">
            <a:extLst>
              <a:ext uri="{FF2B5EF4-FFF2-40B4-BE49-F238E27FC236}">
                <a16:creationId xmlns:a16="http://schemas.microsoft.com/office/drawing/2014/main" id="{220DDFA0-8175-CDE2-7690-B6EE05C7CF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07" y="978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2" name="Kép 911">
            <a:extLst>
              <a:ext uri="{FF2B5EF4-FFF2-40B4-BE49-F238E27FC236}">
                <a16:creationId xmlns:a16="http://schemas.microsoft.com/office/drawing/2014/main" id="{A2288CB6-49AB-1B77-07E1-F900AB2CBD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1345" y="-31020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3" name="Kép 912">
            <a:extLst>
              <a:ext uri="{FF2B5EF4-FFF2-40B4-BE49-F238E27FC236}">
                <a16:creationId xmlns:a16="http://schemas.microsoft.com/office/drawing/2014/main" id="{BE4879B7-535F-0CE9-4084-EA907BFA55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252" y="-72288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4" name="Kép 913">
            <a:extLst>
              <a:ext uri="{FF2B5EF4-FFF2-40B4-BE49-F238E27FC236}">
                <a16:creationId xmlns:a16="http://schemas.microsoft.com/office/drawing/2014/main" id="{37BFE511-3426-132D-3647-304C07378F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3720" y="-3107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5" name="Kép 914">
            <a:extLst>
              <a:ext uri="{FF2B5EF4-FFF2-40B4-BE49-F238E27FC236}">
                <a16:creationId xmlns:a16="http://schemas.microsoft.com/office/drawing/2014/main" id="{181D1719-F66E-9880-AB49-56CC1BCDF3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3767" y="-3107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6" name="Kép 915">
            <a:extLst>
              <a:ext uri="{FF2B5EF4-FFF2-40B4-BE49-F238E27FC236}">
                <a16:creationId xmlns:a16="http://schemas.microsoft.com/office/drawing/2014/main" id="{0E89EFDD-DD52-160D-6538-0055C0B740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3767" y="990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7" name="Kép 916">
            <a:extLst>
              <a:ext uri="{FF2B5EF4-FFF2-40B4-BE49-F238E27FC236}">
                <a16:creationId xmlns:a16="http://schemas.microsoft.com/office/drawing/2014/main" id="{4AC3F920-C449-2AC9-4DD1-7FFC8D1C7E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5309" y="9908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8" name="Kép 917" descr="A képen szöveg látható&#10;&#10;Automatikusan generált leírás">
            <a:extLst>
              <a:ext uri="{FF2B5EF4-FFF2-40B4-BE49-F238E27FC236}">
                <a16:creationId xmlns:a16="http://schemas.microsoft.com/office/drawing/2014/main" id="{13C97C8F-FD1F-E79A-EB47-262CE343DE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74" y="-72190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19" name="Kép 918">
            <a:extLst>
              <a:ext uri="{FF2B5EF4-FFF2-40B4-BE49-F238E27FC236}">
                <a16:creationId xmlns:a16="http://schemas.microsoft.com/office/drawing/2014/main" id="{4ED3062D-416F-3EAE-EB4F-DFF16F185EB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3720" y="-72190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0" name="Kép 919">
            <a:extLst>
              <a:ext uri="{FF2B5EF4-FFF2-40B4-BE49-F238E27FC236}">
                <a16:creationId xmlns:a16="http://schemas.microsoft.com/office/drawing/2014/main" id="{8BA2F9F9-9D0B-61B6-C3D1-65198AFB19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3720" y="987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1" name="Kép 920">
            <a:extLst>
              <a:ext uri="{FF2B5EF4-FFF2-40B4-BE49-F238E27FC236}">
                <a16:creationId xmlns:a16="http://schemas.microsoft.com/office/drawing/2014/main" id="{3D74C9C4-5D60-930E-3046-6975D70892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349" y="509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2" name="Kép 921">
            <a:extLst>
              <a:ext uri="{FF2B5EF4-FFF2-40B4-BE49-F238E27FC236}">
                <a16:creationId xmlns:a16="http://schemas.microsoft.com/office/drawing/2014/main" id="{B83DE59E-4CCE-E31B-955B-4EE9036B5BF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4587" y="509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3" name="Kép 922">
            <a:extLst>
              <a:ext uri="{FF2B5EF4-FFF2-40B4-BE49-F238E27FC236}">
                <a16:creationId xmlns:a16="http://schemas.microsoft.com/office/drawing/2014/main" id="{E593BCB8-1978-AAFC-582E-F717D6BC2F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4396" y="509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4" name="Kép 923">
            <a:extLst>
              <a:ext uri="{FF2B5EF4-FFF2-40B4-BE49-F238E27FC236}">
                <a16:creationId xmlns:a16="http://schemas.microsoft.com/office/drawing/2014/main" id="{672170CA-C0F7-C3C6-1F80-6878497F90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4396" y="9197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5" name="Kép 924">
            <a:extLst>
              <a:ext uri="{FF2B5EF4-FFF2-40B4-BE49-F238E27FC236}">
                <a16:creationId xmlns:a16="http://schemas.microsoft.com/office/drawing/2014/main" id="{47096D71-0013-8F84-F4CB-3C99FE48E5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5938" y="9197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6" name="Kép 925" descr="A képen szöveg látható&#10;&#10;Automatikusan generált leírás">
            <a:extLst>
              <a:ext uri="{FF2B5EF4-FFF2-40B4-BE49-F238E27FC236}">
                <a16:creationId xmlns:a16="http://schemas.microsoft.com/office/drawing/2014/main" id="{EF1EA8F9-2143-F4F0-E4FB-9B32A3DE5D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97" y="987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7" name="Kép 926">
            <a:extLst>
              <a:ext uri="{FF2B5EF4-FFF2-40B4-BE49-F238E27FC236}">
                <a16:creationId xmlns:a16="http://schemas.microsoft.com/office/drawing/2014/main" id="{3211D17C-0B4E-1B99-4FE2-85A4B8EA5A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349" y="9877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8" name="Kép 927">
            <a:extLst>
              <a:ext uri="{FF2B5EF4-FFF2-40B4-BE49-F238E27FC236}">
                <a16:creationId xmlns:a16="http://schemas.microsoft.com/office/drawing/2014/main" id="{6344A974-64AE-3706-79F5-D3865A2BE3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7481" y="9197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29" name="Kép 928">
            <a:extLst>
              <a:ext uri="{FF2B5EF4-FFF2-40B4-BE49-F238E27FC236}">
                <a16:creationId xmlns:a16="http://schemas.microsoft.com/office/drawing/2014/main" id="{7C9ED318-BD0F-9D6A-D4FC-A13BE4C5BF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6256" y="9210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0" name="Kép 929">
            <a:extLst>
              <a:ext uri="{FF2B5EF4-FFF2-40B4-BE49-F238E27FC236}">
                <a16:creationId xmlns:a16="http://schemas.microsoft.com/office/drawing/2014/main" id="{74A75D16-DCB8-EC7A-2F4F-943C5057D4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6303" y="9210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1" name="Kép 930" descr="A képen szöveg látható&#10;&#10;Automatikusan generált leírás">
            <a:extLst>
              <a:ext uri="{FF2B5EF4-FFF2-40B4-BE49-F238E27FC236}">
                <a16:creationId xmlns:a16="http://schemas.microsoft.com/office/drawing/2014/main" id="{86A3C8E1-AFF4-3B14-0447-A58B19D5F8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2010" y="509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2" name="Kép 931">
            <a:extLst>
              <a:ext uri="{FF2B5EF4-FFF2-40B4-BE49-F238E27FC236}">
                <a16:creationId xmlns:a16="http://schemas.microsoft.com/office/drawing/2014/main" id="{087669E3-32A2-5EC6-014C-EC71ED070C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6256" y="5098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3" name="Kép 932">
            <a:extLst>
              <a:ext uri="{FF2B5EF4-FFF2-40B4-BE49-F238E27FC236}">
                <a16:creationId xmlns:a16="http://schemas.microsoft.com/office/drawing/2014/main" id="{EA799ADE-633F-3CC7-87F8-ED249D95AFC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65" y="-7215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4" name="Kép 933">
            <a:extLst>
              <a:ext uri="{FF2B5EF4-FFF2-40B4-BE49-F238E27FC236}">
                <a16:creationId xmlns:a16="http://schemas.microsoft.com/office/drawing/2014/main" id="{F39A589A-5967-BB85-9ABA-05D8A73002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556" y="-7215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5" name="Kép 934">
            <a:extLst>
              <a:ext uri="{FF2B5EF4-FFF2-40B4-BE49-F238E27FC236}">
                <a16:creationId xmlns:a16="http://schemas.microsoft.com/office/drawing/2014/main" id="{1B688C44-021C-6DA0-674B-0744CA2D9D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556" y="-3117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6" name="Kép 935">
            <a:extLst>
              <a:ext uri="{FF2B5EF4-FFF2-40B4-BE49-F238E27FC236}">
                <a16:creationId xmlns:a16="http://schemas.microsoft.com/office/drawing/2014/main" id="{F6BCFA3A-EEC4-BA74-6730-6EDD4F02F9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14" y="-3117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7" name="Kép 936">
            <a:extLst>
              <a:ext uri="{FF2B5EF4-FFF2-40B4-BE49-F238E27FC236}">
                <a16:creationId xmlns:a16="http://schemas.microsoft.com/office/drawing/2014/main" id="{34C459C2-BE1E-49D1-0E32-738259F17D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529" y="-3117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8" name="Kép 937">
            <a:extLst>
              <a:ext uri="{FF2B5EF4-FFF2-40B4-BE49-F238E27FC236}">
                <a16:creationId xmlns:a16="http://schemas.microsoft.com/office/drawing/2014/main" id="{C80C216D-A3BA-62B3-BEBF-B59530107F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337" y="-7215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39" name="Kép 938">
            <a:extLst>
              <a:ext uri="{FF2B5EF4-FFF2-40B4-BE49-F238E27FC236}">
                <a16:creationId xmlns:a16="http://schemas.microsoft.com/office/drawing/2014/main" id="{F93AAF74-D07D-33F5-81AC-9707254C43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290" y="-7215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0" name="Kép 939">
            <a:extLst>
              <a:ext uri="{FF2B5EF4-FFF2-40B4-BE49-F238E27FC236}">
                <a16:creationId xmlns:a16="http://schemas.microsoft.com/office/drawing/2014/main" id="{5C0009B4-33B4-A0B9-E713-16294F6A2B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290" y="-3117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1" name="Kép 940">
            <a:extLst>
              <a:ext uri="{FF2B5EF4-FFF2-40B4-BE49-F238E27FC236}">
                <a16:creationId xmlns:a16="http://schemas.microsoft.com/office/drawing/2014/main" id="{19C15E4F-6E3E-383E-FF70-CE6CF9370B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748" y="-3117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2" name="Kép 941">
            <a:extLst>
              <a:ext uri="{FF2B5EF4-FFF2-40B4-BE49-F238E27FC236}">
                <a16:creationId xmlns:a16="http://schemas.microsoft.com/office/drawing/2014/main" id="{3710F3BE-54AB-7780-5787-175A5E49AC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337" y="-3120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3" name="Kép 942">
            <a:extLst>
              <a:ext uri="{FF2B5EF4-FFF2-40B4-BE49-F238E27FC236}">
                <a16:creationId xmlns:a16="http://schemas.microsoft.com/office/drawing/2014/main" id="{D82EA672-EE99-D016-6E64-D50E636DCD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708" y="990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4" name="Kép 943">
            <a:extLst>
              <a:ext uri="{FF2B5EF4-FFF2-40B4-BE49-F238E27FC236}">
                <a16:creationId xmlns:a16="http://schemas.microsoft.com/office/drawing/2014/main" id="{62288CB1-3237-A877-452A-8CF06DE660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470" y="990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5" name="Kép 944">
            <a:extLst>
              <a:ext uri="{FF2B5EF4-FFF2-40B4-BE49-F238E27FC236}">
                <a16:creationId xmlns:a16="http://schemas.microsoft.com/office/drawing/2014/main" id="{8EC3B5FA-DC4D-FB53-F4B3-B6D30DB043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990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6" name="Kép 945">
            <a:extLst>
              <a:ext uri="{FF2B5EF4-FFF2-40B4-BE49-F238E27FC236}">
                <a16:creationId xmlns:a16="http://schemas.microsoft.com/office/drawing/2014/main" id="{0FF9C98F-0CD7-F07B-C889-63B9BE05DE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5089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7" name="Kép 946">
            <a:extLst>
              <a:ext uri="{FF2B5EF4-FFF2-40B4-BE49-F238E27FC236}">
                <a16:creationId xmlns:a16="http://schemas.microsoft.com/office/drawing/2014/main" id="{3E483253-0354-14C2-0A48-A29681AA6A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119" y="5089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8" name="Kép 947" descr="A képen szöveg látható&#10;&#10;Automatikusan generált leírás">
            <a:extLst>
              <a:ext uri="{FF2B5EF4-FFF2-40B4-BE49-F238E27FC236}">
                <a16:creationId xmlns:a16="http://schemas.microsoft.com/office/drawing/2014/main" id="{B4D978C0-E678-73BE-F4B1-343095DCB6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954" y="-3120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49" name="Kép 948">
            <a:extLst>
              <a:ext uri="{FF2B5EF4-FFF2-40B4-BE49-F238E27FC236}">
                <a16:creationId xmlns:a16="http://schemas.microsoft.com/office/drawing/2014/main" id="{11A5D456-F075-70FB-1F67-BBCD2A883D5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708" y="-3120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0" name="Kép 949">
            <a:extLst>
              <a:ext uri="{FF2B5EF4-FFF2-40B4-BE49-F238E27FC236}">
                <a16:creationId xmlns:a16="http://schemas.microsoft.com/office/drawing/2014/main" id="{36ABF981-426F-79CF-839C-A349D12B48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576" y="5089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1" name="Kép 950">
            <a:extLst>
              <a:ext uri="{FF2B5EF4-FFF2-40B4-BE49-F238E27FC236}">
                <a16:creationId xmlns:a16="http://schemas.microsoft.com/office/drawing/2014/main" id="{E66A64E9-993F-FD29-E954-BAE160DE68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5101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2" name="Kép 951">
            <a:extLst>
              <a:ext uri="{FF2B5EF4-FFF2-40B4-BE49-F238E27FC236}">
                <a16:creationId xmlns:a16="http://schemas.microsoft.com/office/drawing/2014/main" id="{C563F79E-6251-15BC-66F9-3009530575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54" y="5101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3" name="Kép 952" descr="A képen szöveg látható&#10;&#10;Automatikusan generált leírás">
            <a:extLst>
              <a:ext uri="{FF2B5EF4-FFF2-40B4-BE49-F238E27FC236}">
                <a16:creationId xmlns:a16="http://schemas.microsoft.com/office/drawing/2014/main" id="{F5B91F64-0249-2042-F6A9-3B70976470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047" y="990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4" name="Kép 953">
            <a:extLst>
              <a:ext uri="{FF2B5EF4-FFF2-40B4-BE49-F238E27FC236}">
                <a16:creationId xmlns:a16="http://schemas.microsoft.com/office/drawing/2014/main" id="{FC93BFEC-6216-5F91-B359-543A556245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990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5" name="Kép 954">
            <a:extLst>
              <a:ext uri="{FF2B5EF4-FFF2-40B4-BE49-F238E27FC236}">
                <a16:creationId xmlns:a16="http://schemas.microsoft.com/office/drawing/2014/main" id="{4BB8543B-EE72-C11E-E91C-54F11E9FA3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613" y="-7225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6" name="Kép 955">
            <a:extLst>
              <a:ext uri="{FF2B5EF4-FFF2-40B4-BE49-F238E27FC236}">
                <a16:creationId xmlns:a16="http://schemas.microsoft.com/office/drawing/2014/main" id="{75820075-B24D-9524-BBA9-EE0DE53045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071" y="-7225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7" name="Kép 956">
            <a:extLst>
              <a:ext uri="{FF2B5EF4-FFF2-40B4-BE49-F238E27FC236}">
                <a16:creationId xmlns:a16="http://schemas.microsoft.com/office/drawing/2014/main" id="{544D9A97-8C4A-25B0-E566-8B6773B713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1528" y="-7225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8" name="Kép 957">
            <a:extLst>
              <a:ext uri="{FF2B5EF4-FFF2-40B4-BE49-F238E27FC236}">
                <a16:creationId xmlns:a16="http://schemas.microsoft.com/office/drawing/2014/main" id="{6B753C40-9AB5-0430-FEF1-F961888C98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83" y="13302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59" name="Kép 958">
            <a:extLst>
              <a:ext uri="{FF2B5EF4-FFF2-40B4-BE49-F238E27FC236}">
                <a16:creationId xmlns:a16="http://schemas.microsoft.com/office/drawing/2014/main" id="{3DFB50D5-9F35-D35D-700E-2FA05C9E4A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8030" y="13302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0" name="Kép 959">
            <a:extLst>
              <a:ext uri="{FF2B5EF4-FFF2-40B4-BE49-F238E27FC236}">
                <a16:creationId xmlns:a16="http://schemas.microsoft.com/office/drawing/2014/main" id="{291C5976-3AFD-5C04-D3AA-A3BC2A4B99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8030" y="17401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1" name="Kép 960">
            <a:extLst>
              <a:ext uri="{FF2B5EF4-FFF2-40B4-BE49-F238E27FC236}">
                <a16:creationId xmlns:a16="http://schemas.microsoft.com/office/drawing/2014/main" id="{80ADFB22-E9A1-7803-9BD3-4E63C537A1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9572" y="17401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2" name="Kép 961" descr="A képen szöveg látható&#10;&#10;Automatikusan generált leírás">
            <a:extLst>
              <a:ext uri="{FF2B5EF4-FFF2-40B4-BE49-F238E27FC236}">
                <a16:creationId xmlns:a16="http://schemas.microsoft.com/office/drawing/2014/main" id="{1C9DEB14-D0A4-7476-5F8E-3DB74D91CF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63" y="9191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3" name="Kép 962">
            <a:extLst>
              <a:ext uri="{FF2B5EF4-FFF2-40B4-BE49-F238E27FC236}">
                <a16:creationId xmlns:a16="http://schemas.microsoft.com/office/drawing/2014/main" id="{1C74B11C-09DB-16B1-D907-B6921578F5F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83" y="9191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4" name="Kép 963">
            <a:extLst>
              <a:ext uri="{FF2B5EF4-FFF2-40B4-BE49-F238E27FC236}">
                <a16:creationId xmlns:a16="http://schemas.microsoft.com/office/drawing/2014/main" id="{BD21D81D-54C6-CC8F-9758-1666359C94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983" y="17398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5" name="Kép 964">
            <a:extLst>
              <a:ext uri="{FF2B5EF4-FFF2-40B4-BE49-F238E27FC236}">
                <a16:creationId xmlns:a16="http://schemas.microsoft.com/office/drawing/2014/main" id="{0276AF98-D091-1871-4D07-3000B86C8B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388" y="21509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6" name="Kép 965">
            <a:extLst>
              <a:ext uri="{FF2B5EF4-FFF2-40B4-BE49-F238E27FC236}">
                <a16:creationId xmlns:a16="http://schemas.microsoft.com/office/drawing/2014/main" id="{C4F35B0B-5A8D-5952-5666-2A7E0A65CC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8850" y="21509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7" name="Kép 966">
            <a:extLst>
              <a:ext uri="{FF2B5EF4-FFF2-40B4-BE49-F238E27FC236}">
                <a16:creationId xmlns:a16="http://schemas.microsoft.com/office/drawing/2014/main" id="{EAA0C292-9510-234D-6480-F99A1B8BFA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59" y="21509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8" name="Kép 967">
            <a:extLst>
              <a:ext uri="{FF2B5EF4-FFF2-40B4-BE49-F238E27FC236}">
                <a16:creationId xmlns:a16="http://schemas.microsoft.com/office/drawing/2014/main" id="{087B59B9-6246-F73A-AEC8-CD993A2071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59" y="25608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69" name="Kép 968">
            <a:extLst>
              <a:ext uri="{FF2B5EF4-FFF2-40B4-BE49-F238E27FC236}">
                <a16:creationId xmlns:a16="http://schemas.microsoft.com/office/drawing/2014/main" id="{4959CFC8-19C5-B577-380A-B80303A83D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0201" y="25608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0" name="Kép 969" descr="A képen szöveg látható&#10;&#10;Automatikusan generált leírás">
            <a:extLst>
              <a:ext uri="{FF2B5EF4-FFF2-40B4-BE49-F238E27FC236}">
                <a16:creationId xmlns:a16="http://schemas.microsoft.com/office/drawing/2014/main" id="{158211B1-DF95-1F20-E428-4B25EDF0A23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34" y="17398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1" name="Kép 970">
            <a:extLst>
              <a:ext uri="{FF2B5EF4-FFF2-40B4-BE49-F238E27FC236}">
                <a16:creationId xmlns:a16="http://schemas.microsoft.com/office/drawing/2014/main" id="{3900B713-CE77-2134-A2FA-6BCFE23853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388" y="173981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2" name="Kép 971">
            <a:extLst>
              <a:ext uri="{FF2B5EF4-FFF2-40B4-BE49-F238E27FC236}">
                <a16:creationId xmlns:a16="http://schemas.microsoft.com/office/drawing/2014/main" id="{74F40A3B-147E-7465-5A2E-C563603204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1744" y="25608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3" name="Kép 972">
            <a:extLst>
              <a:ext uri="{FF2B5EF4-FFF2-40B4-BE49-F238E27FC236}">
                <a16:creationId xmlns:a16="http://schemas.microsoft.com/office/drawing/2014/main" id="{E0E7FF42-BE56-1560-D2E3-624DE0DD07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0519" y="25620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4" name="Kép 973">
            <a:extLst>
              <a:ext uri="{FF2B5EF4-FFF2-40B4-BE49-F238E27FC236}">
                <a16:creationId xmlns:a16="http://schemas.microsoft.com/office/drawing/2014/main" id="{7F6E6D6B-3002-6ED1-2BE8-47B816B473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0566" y="256204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5" name="Kép 974" descr="A képen szöveg látható&#10;&#10;Automatikusan generált leírás">
            <a:extLst>
              <a:ext uri="{FF2B5EF4-FFF2-40B4-BE49-F238E27FC236}">
                <a16:creationId xmlns:a16="http://schemas.microsoft.com/office/drawing/2014/main" id="{A7989E69-43AD-70DC-1C54-F0A3F5A316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6273" y="21509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6" name="Kép 975">
            <a:extLst>
              <a:ext uri="{FF2B5EF4-FFF2-40B4-BE49-F238E27FC236}">
                <a16:creationId xmlns:a16="http://schemas.microsoft.com/office/drawing/2014/main" id="{13F2DB89-B944-41AB-B3E6-58A713EABA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0519" y="21509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7" name="Kép 976">
            <a:extLst>
              <a:ext uri="{FF2B5EF4-FFF2-40B4-BE49-F238E27FC236}">
                <a16:creationId xmlns:a16="http://schemas.microsoft.com/office/drawing/2014/main" id="{A1465EB0-0A12-CB48-F5E0-99C72591D8D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02" y="9194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8" name="Kép 977">
            <a:extLst>
              <a:ext uri="{FF2B5EF4-FFF2-40B4-BE49-F238E27FC236}">
                <a16:creationId xmlns:a16="http://schemas.microsoft.com/office/drawing/2014/main" id="{01CC20ED-75B3-61F6-F8EF-74E903802F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9194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79" name="Kép 978">
            <a:extLst>
              <a:ext uri="{FF2B5EF4-FFF2-40B4-BE49-F238E27FC236}">
                <a16:creationId xmlns:a16="http://schemas.microsoft.com/office/drawing/2014/main" id="{56143AE4-6411-71CC-C003-B6215FE9F4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13293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0" name="Kép 979">
            <a:extLst>
              <a:ext uri="{FF2B5EF4-FFF2-40B4-BE49-F238E27FC236}">
                <a16:creationId xmlns:a16="http://schemas.microsoft.com/office/drawing/2014/main" id="{987E5B06-5254-64FC-7464-5787E1035B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51" y="13293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1" name="Kép 980">
            <a:extLst>
              <a:ext uri="{FF2B5EF4-FFF2-40B4-BE49-F238E27FC236}">
                <a16:creationId xmlns:a16="http://schemas.microsoft.com/office/drawing/2014/main" id="{E89CFBB1-3C08-2A3F-1850-FDD051270A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08" y="13293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2" name="Kép 981">
            <a:extLst>
              <a:ext uri="{FF2B5EF4-FFF2-40B4-BE49-F238E27FC236}">
                <a16:creationId xmlns:a16="http://schemas.microsoft.com/office/drawing/2014/main" id="{959D9F4C-A87D-3DA4-9703-570D29E555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552" y="13281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3" name="Kép 982">
            <a:extLst>
              <a:ext uri="{FF2B5EF4-FFF2-40B4-BE49-F238E27FC236}">
                <a16:creationId xmlns:a16="http://schemas.microsoft.com/office/drawing/2014/main" id="{49681A11-C2C5-7AAB-4A95-6C27405AC5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85599" y="13281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4" name="Kép 983">
            <a:extLst>
              <a:ext uri="{FF2B5EF4-FFF2-40B4-BE49-F238E27FC236}">
                <a16:creationId xmlns:a16="http://schemas.microsoft.com/office/drawing/2014/main" id="{BD11B98A-2A10-0E6C-C437-3C483BFA17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85599" y="17379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5" name="Kép 984">
            <a:extLst>
              <a:ext uri="{FF2B5EF4-FFF2-40B4-BE49-F238E27FC236}">
                <a16:creationId xmlns:a16="http://schemas.microsoft.com/office/drawing/2014/main" id="{D27D7704-C6CB-95B4-EFDA-37D859A6ED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97141" y="17379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6" name="Kép 985">
            <a:extLst>
              <a:ext uri="{FF2B5EF4-FFF2-40B4-BE49-F238E27FC236}">
                <a16:creationId xmlns:a16="http://schemas.microsoft.com/office/drawing/2014/main" id="{A349FA13-6F04-7E8B-4F4A-DDB18DF67F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552" y="17376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7" name="Kép 986">
            <a:extLst>
              <a:ext uri="{FF2B5EF4-FFF2-40B4-BE49-F238E27FC236}">
                <a16:creationId xmlns:a16="http://schemas.microsoft.com/office/drawing/2014/main" id="{37C6A5ED-0D7B-2EA0-EDF6-5CDB009E1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6181" y="21487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8" name="Kép 987">
            <a:extLst>
              <a:ext uri="{FF2B5EF4-FFF2-40B4-BE49-F238E27FC236}">
                <a16:creationId xmlns:a16="http://schemas.microsoft.com/office/drawing/2014/main" id="{E9D4C78F-2314-0096-353B-C8E5D3D67F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86419" y="21487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89" name="Kép 988">
            <a:extLst>
              <a:ext uri="{FF2B5EF4-FFF2-40B4-BE49-F238E27FC236}">
                <a16:creationId xmlns:a16="http://schemas.microsoft.com/office/drawing/2014/main" id="{C5B5B86F-08BB-10E8-B6C6-BF201217C7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6228" y="21487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0" name="Kép 989">
            <a:extLst>
              <a:ext uri="{FF2B5EF4-FFF2-40B4-BE49-F238E27FC236}">
                <a16:creationId xmlns:a16="http://schemas.microsoft.com/office/drawing/2014/main" id="{22DFE965-26D0-F641-AD82-5F4476A1BB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6228" y="25586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1" name="Kép 990">
            <a:extLst>
              <a:ext uri="{FF2B5EF4-FFF2-40B4-BE49-F238E27FC236}">
                <a16:creationId xmlns:a16="http://schemas.microsoft.com/office/drawing/2014/main" id="{AB6DC4D3-4217-2BF0-DE5B-400491511B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87770" y="25586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2" name="Kép 991" descr="A képen szöveg látható&#10;&#10;Automatikusan generált leírás">
            <a:extLst>
              <a:ext uri="{FF2B5EF4-FFF2-40B4-BE49-F238E27FC236}">
                <a16:creationId xmlns:a16="http://schemas.microsoft.com/office/drawing/2014/main" id="{ED9A1D14-AF88-5C97-7A68-30C1787D46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1935" y="17376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3" name="Kép 992">
            <a:extLst>
              <a:ext uri="{FF2B5EF4-FFF2-40B4-BE49-F238E27FC236}">
                <a16:creationId xmlns:a16="http://schemas.microsoft.com/office/drawing/2014/main" id="{9CEB09C7-33C8-90E6-4D38-CD095E40B0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6181" y="173767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4" name="Kép 993">
            <a:extLst>
              <a:ext uri="{FF2B5EF4-FFF2-40B4-BE49-F238E27FC236}">
                <a16:creationId xmlns:a16="http://schemas.microsoft.com/office/drawing/2014/main" id="{8E63C21F-EA9D-7FEF-FF19-A318E6A0C7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99313" y="255866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5" name="Kép 994">
            <a:extLst>
              <a:ext uri="{FF2B5EF4-FFF2-40B4-BE49-F238E27FC236}">
                <a16:creationId xmlns:a16="http://schemas.microsoft.com/office/drawing/2014/main" id="{E38102AF-2250-39A9-EB32-5272B1857F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08088" y="255990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6" name="Kép 995">
            <a:extLst>
              <a:ext uri="{FF2B5EF4-FFF2-40B4-BE49-F238E27FC236}">
                <a16:creationId xmlns:a16="http://schemas.microsoft.com/office/drawing/2014/main" id="{C44A82EC-3BC6-0AF6-B7AE-E4D25FD501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1957" y="298374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7" name="Kép 996" descr="A képen szöveg látható&#10;&#10;Automatikusan generált leírás">
            <a:extLst>
              <a:ext uri="{FF2B5EF4-FFF2-40B4-BE49-F238E27FC236}">
                <a16:creationId xmlns:a16="http://schemas.microsoft.com/office/drawing/2014/main" id="{3BECF743-DC5A-E7EA-28B8-981F48196B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93842" y="21487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8" name="Kép 997">
            <a:extLst>
              <a:ext uri="{FF2B5EF4-FFF2-40B4-BE49-F238E27FC236}">
                <a16:creationId xmlns:a16="http://schemas.microsoft.com/office/drawing/2014/main" id="{DB00DC7D-DA40-E9C6-0730-E0F54FC273B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08088" y="21487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99" name="Kép 998">
            <a:extLst>
              <a:ext uri="{FF2B5EF4-FFF2-40B4-BE49-F238E27FC236}">
                <a16:creationId xmlns:a16="http://schemas.microsoft.com/office/drawing/2014/main" id="{08957F53-F230-F6F7-8AE0-08ACCC215C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2276" y="13271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0" name="Kép 999">
            <a:extLst>
              <a:ext uri="{FF2B5EF4-FFF2-40B4-BE49-F238E27FC236}">
                <a16:creationId xmlns:a16="http://schemas.microsoft.com/office/drawing/2014/main" id="{C3CAE1D4-4C12-45B1-CF5E-F55833F152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3818" y="13271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1" name="Kép 1000">
            <a:extLst>
              <a:ext uri="{FF2B5EF4-FFF2-40B4-BE49-F238E27FC236}">
                <a16:creationId xmlns:a16="http://schemas.microsoft.com/office/drawing/2014/main" id="{37BE0806-2618-D8F1-501F-8617D5987E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65361" y="13271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2" name="Kép 1001">
            <a:extLst>
              <a:ext uri="{FF2B5EF4-FFF2-40B4-BE49-F238E27FC236}">
                <a16:creationId xmlns:a16="http://schemas.microsoft.com/office/drawing/2014/main" id="{47055059-7E17-2B00-B271-8B1450E707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977" y="91913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3" name="Kép 1002">
            <a:extLst>
              <a:ext uri="{FF2B5EF4-FFF2-40B4-BE49-F238E27FC236}">
                <a16:creationId xmlns:a16="http://schemas.microsoft.com/office/drawing/2014/main" id="{4557D24C-8FC2-CF4F-043E-960F1FA923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21916" y="-589449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4" name="Kép 1003">
            <a:extLst>
              <a:ext uri="{FF2B5EF4-FFF2-40B4-BE49-F238E27FC236}">
                <a16:creationId xmlns:a16="http://schemas.microsoft.com/office/drawing/2014/main" id="{BD223A30-0C71-6E90-7E6E-3A73983909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3888" y="-54823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5" name="Kép 1004">
            <a:extLst>
              <a:ext uri="{FF2B5EF4-FFF2-40B4-BE49-F238E27FC236}">
                <a16:creationId xmlns:a16="http://schemas.microsoft.com/office/drawing/2014/main" id="{9E083D61-14E4-1340-8311-F8B5F1C908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3935" y="-54823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6" name="Kép 1005">
            <a:extLst>
              <a:ext uri="{FF2B5EF4-FFF2-40B4-BE49-F238E27FC236}">
                <a16:creationId xmlns:a16="http://schemas.microsoft.com/office/drawing/2014/main" id="{05B8F3AA-AD33-1C85-55B6-E6E0EAFCDE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3935" y="-50725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7" name="Kép 1006">
            <a:extLst>
              <a:ext uri="{FF2B5EF4-FFF2-40B4-BE49-F238E27FC236}">
                <a16:creationId xmlns:a16="http://schemas.microsoft.com/office/drawing/2014/main" id="{9EB99B05-932A-24CC-ED57-AF47384586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5477" y="-507252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8" name="Kép 1007" descr="A képen szöveg látható&#10;&#10;Automatikusan generált leírás">
            <a:extLst>
              <a:ext uri="{FF2B5EF4-FFF2-40B4-BE49-F238E27FC236}">
                <a16:creationId xmlns:a16="http://schemas.microsoft.com/office/drawing/2014/main" id="{0831F5E0-D4D5-7E6E-71D3-56BCDD7EF6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9642" y="-58935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09" name="Kép 1008">
            <a:extLst>
              <a:ext uri="{FF2B5EF4-FFF2-40B4-BE49-F238E27FC236}">
                <a16:creationId xmlns:a16="http://schemas.microsoft.com/office/drawing/2014/main" id="{FEF61B29-1D5B-3DA5-FCCE-2EB655C3CCC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3888" y="-589351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0" name="Kép 1009">
            <a:extLst>
              <a:ext uri="{FF2B5EF4-FFF2-40B4-BE49-F238E27FC236}">
                <a16:creationId xmlns:a16="http://schemas.microsoft.com/office/drawing/2014/main" id="{D28DC818-2044-004D-EA9D-C29EA38B67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3888" y="-50728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1" name="Kép 1010">
            <a:extLst>
              <a:ext uri="{FF2B5EF4-FFF2-40B4-BE49-F238E27FC236}">
                <a16:creationId xmlns:a16="http://schemas.microsoft.com/office/drawing/2014/main" id="{B0BE2CD3-78F3-4C79-4BBD-32D73D93D7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54517" y="-46617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2" name="Kép 1011">
            <a:extLst>
              <a:ext uri="{FF2B5EF4-FFF2-40B4-BE49-F238E27FC236}">
                <a16:creationId xmlns:a16="http://schemas.microsoft.com/office/drawing/2014/main" id="{49F6B708-1EC4-E804-938D-EFF6D44FA8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4755" y="-46617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3" name="Kép 1012">
            <a:extLst>
              <a:ext uri="{FF2B5EF4-FFF2-40B4-BE49-F238E27FC236}">
                <a16:creationId xmlns:a16="http://schemas.microsoft.com/office/drawing/2014/main" id="{ADC65289-590C-660B-9F8E-BC41906FCF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4564" y="-46617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4" name="Kép 1013">
            <a:extLst>
              <a:ext uri="{FF2B5EF4-FFF2-40B4-BE49-F238E27FC236}">
                <a16:creationId xmlns:a16="http://schemas.microsoft.com/office/drawing/2014/main" id="{DA5C8630-4069-9169-C320-8C3892DA93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4564" y="-42518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5" name="Kép 1014">
            <a:extLst>
              <a:ext uri="{FF2B5EF4-FFF2-40B4-BE49-F238E27FC236}">
                <a16:creationId xmlns:a16="http://schemas.microsoft.com/office/drawing/2014/main" id="{93A12613-3D9C-70C2-F11F-1524E16EC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6106" y="-42518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6" name="Kép 1015" descr="A képen szöveg látható&#10;&#10;Automatikusan generált leírás">
            <a:extLst>
              <a:ext uri="{FF2B5EF4-FFF2-40B4-BE49-F238E27FC236}">
                <a16:creationId xmlns:a16="http://schemas.microsoft.com/office/drawing/2014/main" id="{55397384-22F6-C63C-E620-97E6301153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40271" y="-50728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7" name="Kép 1016">
            <a:extLst>
              <a:ext uri="{FF2B5EF4-FFF2-40B4-BE49-F238E27FC236}">
                <a16:creationId xmlns:a16="http://schemas.microsoft.com/office/drawing/2014/main" id="{1A1C7A96-C599-78D2-99A4-BB2D118FB68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54517" y="-50728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8" name="Kép 1017">
            <a:extLst>
              <a:ext uri="{FF2B5EF4-FFF2-40B4-BE49-F238E27FC236}">
                <a16:creationId xmlns:a16="http://schemas.microsoft.com/office/drawing/2014/main" id="{630A00BF-E1C1-EADC-9C77-E928DD94A8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7649" y="-42518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19" name="Kép 1018">
            <a:extLst>
              <a:ext uri="{FF2B5EF4-FFF2-40B4-BE49-F238E27FC236}">
                <a16:creationId xmlns:a16="http://schemas.microsoft.com/office/drawing/2014/main" id="{7E5D288E-FCE0-353B-2957-C5F957A120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6424" y="-42506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0" name="Kép 1019">
            <a:extLst>
              <a:ext uri="{FF2B5EF4-FFF2-40B4-BE49-F238E27FC236}">
                <a16:creationId xmlns:a16="http://schemas.microsoft.com/office/drawing/2014/main" id="{5F0F32E1-28BD-8DAC-1CA9-D282C762FD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06471" y="-42506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1" name="Kép 1020" descr="A képen szöveg látható&#10;&#10;Automatikusan generált leírás">
            <a:extLst>
              <a:ext uri="{FF2B5EF4-FFF2-40B4-BE49-F238E27FC236}">
                <a16:creationId xmlns:a16="http://schemas.microsoft.com/office/drawing/2014/main" id="{AB8297B4-CDBA-C4E4-F976-ED829ECF4A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2178" y="-46617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2" name="Kép 1021">
            <a:extLst>
              <a:ext uri="{FF2B5EF4-FFF2-40B4-BE49-F238E27FC236}">
                <a16:creationId xmlns:a16="http://schemas.microsoft.com/office/drawing/2014/main" id="{CD088BF7-2FE2-E6F9-0534-6CEBA862B9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6424" y="-46617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3" name="Kép 1022">
            <a:extLst>
              <a:ext uri="{FF2B5EF4-FFF2-40B4-BE49-F238E27FC236}">
                <a16:creationId xmlns:a16="http://schemas.microsoft.com/office/drawing/2014/main" id="{68CCF8EC-5B59-93F4-B393-547B033D32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40803" y="-58932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4" name="Kép 1023">
            <a:extLst>
              <a:ext uri="{FF2B5EF4-FFF2-40B4-BE49-F238E27FC236}">
                <a16:creationId xmlns:a16="http://schemas.microsoft.com/office/drawing/2014/main" id="{0EBEE948-15DA-4A99-8338-0A9EF58EFD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30612" y="-58932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5" name="Kép 1024">
            <a:extLst>
              <a:ext uri="{FF2B5EF4-FFF2-40B4-BE49-F238E27FC236}">
                <a16:creationId xmlns:a16="http://schemas.microsoft.com/office/drawing/2014/main" id="{41D87428-7383-9F52-AA3E-82ABE48A6C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30612" y="-54833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6" name="Kép 1025">
            <a:extLst>
              <a:ext uri="{FF2B5EF4-FFF2-40B4-BE49-F238E27FC236}">
                <a16:creationId xmlns:a16="http://schemas.microsoft.com/office/drawing/2014/main" id="{E7511EE7-C95C-8E20-0A87-6A5956F39A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42154" y="-54833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7" name="Kép 1026">
            <a:extLst>
              <a:ext uri="{FF2B5EF4-FFF2-40B4-BE49-F238E27FC236}">
                <a16:creationId xmlns:a16="http://schemas.microsoft.com/office/drawing/2014/main" id="{5701B588-3524-9BE8-139D-07BB8D8FD5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53697" y="-54833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8" name="Kép 1027">
            <a:extLst>
              <a:ext uri="{FF2B5EF4-FFF2-40B4-BE49-F238E27FC236}">
                <a16:creationId xmlns:a16="http://schemas.microsoft.com/office/drawing/2014/main" id="{D0061E45-0312-6471-1A22-B6DAC2A237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98831" y="-58932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29" name="Kép 1028">
            <a:extLst>
              <a:ext uri="{FF2B5EF4-FFF2-40B4-BE49-F238E27FC236}">
                <a16:creationId xmlns:a16="http://schemas.microsoft.com/office/drawing/2014/main" id="{886A5891-3259-C00B-E23B-7FE5CA8DD9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08878" y="-589320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0" name="Kép 1029">
            <a:extLst>
              <a:ext uri="{FF2B5EF4-FFF2-40B4-BE49-F238E27FC236}">
                <a16:creationId xmlns:a16="http://schemas.microsoft.com/office/drawing/2014/main" id="{2FD82608-BB8B-7644-69FB-79FAB656E3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08878" y="-54833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1" name="Kép 1030">
            <a:extLst>
              <a:ext uri="{FF2B5EF4-FFF2-40B4-BE49-F238E27FC236}">
                <a16:creationId xmlns:a16="http://schemas.microsoft.com/office/drawing/2014/main" id="{3239CE68-0397-A364-7895-707951F7F0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20420" y="-548333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2" name="Kép 1031">
            <a:extLst>
              <a:ext uri="{FF2B5EF4-FFF2-40B4-BE49-F238E27FC236}">
                <a16:creationId xmlns:a16="http://schemas.microsoft.com/office/drawing/2014/main" id="{B8AEE086-5125-E388-7FEC-DD2347E63F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98831" y="-5483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3" name="Kép 1032">
            <a:extLst>
              <a:ext uri="{FF2B5EF4-FFF2-40B4-BE49-F238E27FC236}">
                <a16:creationId xmlns:a16="http://schemas.microsoft.com/office/drawing/2014/main" id="{E6E2A099-EA6D-2B27-7F78-480ADFF036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89460" y="-50725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4" name="Kép 1033">
            <a:extLst>
              <a:ext uri="{FF2B5EF4-FFF2-40B4-BE49-F238E27FC236}">
                <a16:creationId xmlns:a16="http://schemas.microsoft.com/office/drawing/2014/main" id="{8A4F10AB-EF3C-76F4-B426-3A5576D74D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09698" y="-50725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5" name="Kép 1034">
            <a:extLst>
              <a:ext uri="{FF2B5EF4-FFF2-40B4-BE49-F238E27FC236}">
                <a16:creationId xmlns:a16="http://schemas.microsoft.com/office/drawing/2014/main" id="{FA11F155-B8E2-2B85-0D95-8B0F7D8D22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99507" y="-50725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6" name="Kép 1035">
            <a:extLst>
              <a:ext uri="{FF2B5EF4-FFF2-40B4-BE49-F238E27FC236}">
                <a16:creationId xmlns:a16="http://schemas.microsoft.com/office/drawing/2014/main" id="{1B5FB9DF-6237-0372-A066-B245FFDB8E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99507" y="-46626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7" name="Kép 1036">
            <a:extLst>
              <a:ext uri="{FF2B5EF4-FFF2-40B4-BE49-F238E27FC236}">
                <a16:creationId xmlns:a16="http://schemas.microsoft.com/office/drawing/2014/main" id="{AEDE14A9-665C-7F25-9105-692F61F96F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11049" y="-46626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8" name="Kép 1037" descr="A képen szöveg látható&#10;&#10;Automatikusan generált leírás">
            <a:extLst>
              <a:ext uri="{FF2B5EF4-FFF2-40B4-BE49-F238E27FC236}">
                <a16:creationId xmlns:a16="http://schemas.microsoft.com/office/drawing/2014/main" id="{299A640D-FDC8-CDA2-B54D-86E9840F99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75214" y="-5483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39" name="Kép 1038">
            <a:extLst>
              <a:ext uri="{FF2B5EF4-FFF2-40B4-BE49-F238E27FC236}">
                <a16:creationId xmlns:a16="http://schemas.microsoft.com/office/drawing/2014/main" id="{7C960B20-6B36-9831-F181-108E4E8E3D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89460" y="-54836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0" name="Kép 1039">
            <a:extLst>
              <a:ext uri="{FF2B5EF4-FFF2-40B4-BE49-F238E27FC236}">
                <a16:creationId xmlns:a16="http://schemas.microsoft.com/office/drawing/2014/main" id="{66551596-3A40-A17D-DC01-E846B77DAE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22592" y="-466265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1" name="Kép 1040">
            <a:extLst>
              <a:ext uri="{FF2B5EF4-FFF2-40B4-BE49-F238E27FC236}">
                <a16:creationId xmlns:a16="http://schemas.microsoft.com/office/drawing/2014/main" id="{796869A3-44A1-055D-1E92-D8181728ED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31367" y="-46614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2" name="Kép 1041">
            <a:extLst>
              <a:ext uri="{FF2B5EF4-FFF2-40B4-BE49-F238E27FC236}">
                <a16:creationId xmlns:a16="http://schemas.microsoft.com/office/drawing/2014/main" id="{C9D5B02C-DB14-78EA-ACC0-942FBF82C9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41414" y="-46614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3" name="Kép 1042" descr="A képen szöveg látható&#10;&#10;Automatikusan generált leírás">
            <a:extLst>
              <a:ext uri="{FF2B5EF4-FFF2-40B4-BE49-F238E27FC236}">
                <a16:creationId xmlns:a16="http://schemas.microsoft.com/office/drawing/2014/main" id="{D9231F5E-7C9A-AEF6-C986-D4E2F10C4A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17121" y="-50725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4" name="Kép 1043">
            <a:extLst>
              <a:ext uri="{FF2B5EF4-FFF2-40B4-BE49-F238E27FC236}">
                <a16:creationId xmlns:a16="http://schemas.microsoft.com/office/drawing/2014/main" id="{0DA2EF9D-01BD-25E6-78CD-2778652C96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31367" y="-50725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5" name="Kép 1044">
            <a:extLst>
              <a:ext uri="{FF2B5EF4-FFF2-40B4-BE49-F238E27FC236}">
                <a16:creationId xmlns:a16="http://schemas.microsoft.com/office/drawing/2014/main" id="{4C04F64B-A5EB-1E95-4BEC-B9A45C9B02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65555" y="-58941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6" name="Kép 1045">
            <a:extLst>
              <a:ext uri="{FF2B5EF4-FFF2-40B4-BE49-F238E27FC236}">
                <a16:creationId xmlns:a16="http://schemas.microsoft.com/office/drawing/2014/main" id="{211A02D9-C1FC-5078-98C7-55E254DA89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77097" y="-58941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7" name="Kép 1046">
            <a:extLst>
              <a:ext uri="{FF2B5EF4-FFF2-40B4-BE49-F238E27FC236}">
                <a16:creationId xmlns:a16="http://schemas.microsoft.com/office/drawing/2014/main" id="{FB063D4E-89A7-D2AB-E627-B0F9FC13E1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88640" y="-589414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8" name="Kép 1047">
            <a:extLst>
              <a:ext uri="{FF2B5EF4-FFF2-40B4-BE49-F238E27FC236}">
                <a16:creationId xmlns:a16="http://schemas.microsoft.com/office/drawing/2014/main" id="{A2FE7ED7-02EF-1AF0-B946-0B9C71778E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8151" y="-38413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49" name="Kép 1048">
            <a:extLst>
              <a:ext uri="{FF2B5EF4-FFF2-40B4-BE49-F238E27FC236}">
                <a16:creationId xmlns:a16="http://schemas.microsoft.com/office/drawing/2014/main" id="{7D857B22-6D22-02F4-773D-8EC57FB5CB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58198" y="-38413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0" name="Kép 1049">
            <a:extLst>
              <a:ext uri="{FF2B5EF4-FFF2-40B4-BE49-F238E27FC236}">
                <a16:creationId xmlns:a16="http://schemas.microsoft.com/office/drawing/2014/main" id="{B057E5C6-0EDF-64A1-BEC7-6C3FB89B9E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58198" y="-34314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1" name="Kép 1050">
            <a:extLst>
              <a:ext uri="{FF2B5EF4-FFF2-40B4-BE49-F238E27FC236}">
                <a16:creationId xmlns:a16="http://schemas.microsoft.com/office/drawing/2014/main" id="{8F48A0D7-5699-0C40-7AE9-E27B8C195B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69740" y="-343147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2" name="Kép 1051" descr="A képen szöveg látható&#10;&#10;Automatikusan generált leírás">
            <a:extLst>
              <a:ext uri="{FF2B5EF4-FFF2-40B4-BE49-F238E27FC236}">
                <a16:creationId xmlns:a16="http://schemas.microsoft.com/office/drawing/2014/main" id="{5A14D599-DCEF-9CA7-2DF0-2EB7E44E57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33905" y="-4252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3" name="Kép 1052">
            <a:extLst>
              <a:ext uri="{FF2B5EF4-FFF2-40B4-BE49-F238E27FC236}">
                <a16:creationId xmlns:a16="http://schemas.microsoft.com/office/drawing/2014/main" id="{BB46AB9C-1DFA-2FF6-F846-05E9AE8F32E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8151" y="-4252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4" name="Kép 1053">
            <a:extLst>
              <a:ext uri="{FF2B5EF4-FFF2-40B4-BE49-F238E27FC236}">
                <a16:creationId xmlns:a16="http://schemas.microsoft.com/office/drawing/2014/main" id="{978CB898-A82A-2A34-9365-3B78F6957D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8151" y="-3431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5" name="Kép 1054">
            <a:extLst>
              <a:ext uri="{FF2B5EF4-FFF2-40B4-BE49-F238E27FC236}">
                <a16:creationId xmlns:a16="http://schemas.microsoft.com/office/drawing/2014/main" id="{C0D3E1E5-25CC-B34A-5BDD-34D23A3C3B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38780" y="-30206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6" name="Kép 1055">
            <a:extLst>
              <a:ext uri="{FF2B5EF4-FFF2-40B4-BE49-F238E27FC236}">
                <a16:creationId xmlns:a16="http://schemas.microsoft.com/office/drawing/2014/main" id="{E4515CFC-B213-CD3B-590E-5A98CE359A6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59018" y="-30206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7" name="Kép 1056">
            <a:extLst>
              <a:ext uri="{FF2B5EF4-FFF2-40B4-BE49-F238E27FC236}">
                <a16:creationId xmlns:a16="http://schemas.microsoft.com/office/drawing/2014/main" id="{8FE75A61-305D-7D09-9A52-6BE18FED30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8827" y="-30206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8" name="Kép 1057">
            <a:extLst>
              <a:ext uri="{FF2B5EF4-FFF2-40B4-BE49-F238E27FC236}">
                <a16:creationId xmlns:a16="http://schemas.microsoft.com/office/drawing/2014/main" id="{31FB05F9-4CA2-5521-BD39-F0A8E625F4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48827" y="-26108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59" name="Kép 1058">
            <a:extLst>
              <a:ext uri="{FF2B5EF4-FFF2-40B4-BE49-F238E27FC236}">
                <a16:creationId xmlns:a16="http://schemas.microsoft.com/office/drawing/2014/main" id="{F614DE33-3806-343D-F994-7ABA32C719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60369" y="-26108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0" name="Kép 1059" descr="A képen szöveg látható&#10;&#10;Automatikusan generált leírás">
            <a:extLst>
              <a:ext uri="{FF2B5EF4-FFF2-40B4-BE49-F238E27FC236}">
                <a16:creationId xmlns:a16="http://schemas.microsoft.com/office/drawing/2014/main" id="{8DBB4D90-96D9-4F34-D662-52820DDCA0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24534" y="-3431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1" name="Kép 1060">
            <a:extLst>
              <a:ext uri="{FF2B5EF4-FFF2-40B4-BE49-F238E27FC236}">
                <a16:creationId xmlns:a16="http://schemas.microsoft.com/office/drawing/2014/main" id="{464641C1-23F7-1B43-96E9-7A2FA62516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38780" y="-343179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2" name="Kép 1061">
            <a:extLst>
              <a:ext uri="{FF2B5EF4-FFF2-40B4-BE49-F238E27FC236}">
                <a16:creationId xmlns:a16="http://schemas.microsoft.com/office/drawing/2014/main" id="{F40C473A-CD25-D411-A254-59EB23B00F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1912" y="-261080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3" name="Kép 1062">
            <a:extLst>
              <a:ext uri="{FF2B5EF4-FFF2-40B4-BE49-F238E27FC236}">
                <a16:creationId xmlns:a16="http://schemas.microsoft.com/office/drawing/2014/main" id="{84DFEFF5-D705-CCFD-8A40-746585A44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0687" y="-26095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4" name="Kép 1063">
            <a:extLst>
              <a:ext uri="{FF2B5EF4-FFF2-40B4-BE49-F238E27FC236}">
                <a16:creationId xmlns:a16="http://schemas.microsoft.com/office/drawing/2014/main" id="{853D2038-BBC7-2A6F-01F9-3CDE1ACDE8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0734" y="-260955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5" name="Kép 1064" descr="A képen szöveg látható&#10;&#10;Automatikusan generált leírás">
            <a:extLst>
              <a:ext uri="{FF2B5EF4-FFF2-40B4-BE49-F238E27FC236}">
                <a16:creationId xmlns:a16="http://schemas.microsoft.com/office/drawing/2014/main" id="{5752632C-2B56-F471-96BB-7A0D2DD0E6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66441" y="-30206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6" name="Kép 1065">
            <a:extLst>
              <a:ext uri="{FF2B5EF4-FFF2-40B4-BE49-F238E27FC236}">
                <a16:creationId xmlns:a16="http://schemas.microsoft.com/office/drawing/2014/main" id="{A23FCE2B-891B-8B04-65DA-6C832DDB48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0687" y="-302067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7" name="Kép 1066">
            <a:extLst>
              <a:ext uri="{FF2B5EF4-FFF2-40B4-BE49-F238E27FC236}">
                <a16:creationId xmlns:a16="http://schemas.microsoft.com/office/drawing/2014/main" id="{27F5D0B9-CFA1-2048-FA63-7893CBF9DB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25066" y="-42521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8" name="Kép 1067">
            <a:extLst>
              <a:ext uri="{FF2B5EF4-FFF2-40B4-BE49-F238E27FC236}">
                <a16:creationId xmlns:a16="http://schemas.microsoft.com/office/drawing/2014/main" id="{0253A8EE-72F7-BC2E-8E64-0EE2053F9E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14875" y="-425216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69" name="Kép 1068">
            <a:extLst>
              <a:ext uri="{FF2B5EF4-FFF2-40B4-BE49-F238E27FC236}">
                <a16:creationId xmlns:a16="http://schemas.microsoft.com/office/drawing/2014/main" id="{2D4267D3-DD14-B5E5-BA5C-B465555BF6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14875" y="-38422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0" name="Kép 1069">
            <a:extLst>
              <a:ext uri="{FF2B5EF4-FFF2-40B4-BE49-F238E27FC236}">
                <a16:creationId xmlns:a16="http://schemas.microsoft.com/office/drawing/2014/main" id="{EC3CA0CF-6EC2-2C69-5EBD-33EF769EAB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26417" y="-38422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1" name="Kép 1070">
            <a:extLst>
              <a:ext uri="{FF2B5EF4-FFF2-40B4-BE49-F238E27FC236}">
                <a16:creationId xmlns:a16="http://schemas.microsoft.com/office/drawing/2014/main" id="{058FBCE6-D028-C4D2-5413-2549340A98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37960" y="-384228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2" name="Kép 1071">
            <a:extLst>
              <a:ext uri="{FF2B5EF4-FFF2-40B4-BE49-F238E27FC236}">
                <a16:creationId xmlns:a16="http://schemas.microsoft.com/office/drawing/2014/main" id="{30592B1F-6011-BD16-5CA2-4940ADB7DD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05720" y="-38434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3" name="Kép 1072">
            <a:extLst>
              <a:ext uri="{FF2B5EF4-FFF2-40B4-BE49-F238E27FC236}">
                <a16:creationId xmlns:a16="http://schemas.microsoft.com/office/drawing/2014/main" id="{5453934B-8B0C-AA32-EAB3-D382350EF1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15767" y="-384349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4" name="Kép 1073">
            <a:extLst>
              <a:ext uri="{FF2B5EF4-FFF2-40B4-BE49-F238E27FC236}">
                <a16:creationId xmlns:a16="http://schemas.microsoft.com/office/drawing/2014/main" id="{093DF576-574A-25A6-E2FA-1A3127DCDF8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15767" y="-34336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5" name="Kép 1074">
            <a:extLst>
              <a:ext uri="{FF2B5EF4-FFF2-40B4-BE49-F238E27FC236}">
                <a16:creationId xmlns:a16="http://schemas.microsoft.com/office/drawing/2014/main" id="{2D4FE8E1-40F6-419B-A4B6-97D5B42F61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27309" y="-343362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6" name="Kép 1075">
            <a:extLst>
              <a:ext uri="{FF2B5EF4-FFF2-40B4-BE49-F238E27FC236}">
                <a16:creationId xmlns:a16="http://schemas.microsoft.com/office/drawing/2014/main" id="{A4483CF2-03DB-7798-CC0C-2772A6CFB2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05720" y="-3433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7" name="Kép 1076">
            <a:extLst>
              <a:ext uri="{FF2B5EF4-FFF2-40B4-BE49-F238E27FC236}">
                <a16:creationId xmlns:a16="http://schemas.microsoft.com/office/drawing/2014/main" id="{7596631A-63C6-30CC-EF26-F73D8EE1C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6349" y="-30228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8" name="Kép 1077">
            <a:extLst>
              <a:ext uri="{FF2B5EF4-FFF2-40B4-BE49-F238E27FC236}">
                <a16:creationId xmlns:a16="http://schemas.microsoft.com/office/drawing/2014/main" id="{2AE3062A-B667-99DA-D190-717B9E307E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16587" y="-30228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79" name="Kép 1078">
            <a:extLst>
              <a:ext uri="{FF2B5EF4-FFF2-40B4-BE49-F238E27FC236}">
                <a16:creationId xmlns:a16="http://schemas.microsoft.com/office/drawing/2014/main" id="{D0300280-A8E3-8F27-D494-9136D389F7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06396" y="-30228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0" name="Kép 1079">
            <a:extLst>
              <a:ext uri="{FF2B5EF4-FFF2-40B4-BE49-F238E27FC236}">
                <a16:creationId xmlns:a16="http://schemas.microsoft.com/office/drawing/2014/main" id="{DF37F86F-A583-D405-E482-AF9B0526E6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06396" y="-26129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1" name="Kép 1080">
            <a:extLst>
              <a:ext uri="{FF2B5EF4-FFF2-40B4-BE49-F238E27FC236}">
                <a16:creationId xmlns:a16="http://schemas.microsoft.com/office/drawing/2014/main" id="{7149BFB0-43FE-4D21-7103-517E44C8F8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17938" y="-26129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2" name="Kép 1081" descr="A képen szöveg látható&#10;&#10;Automatikusan generált leírás">
            <a:extLst>
              <a:ext uri="{FF2B5EF4-FFF2-40B4-BE49-F238E27FC236}">
                <a16:creationId xmlns:a16="http://schemas.microsoft.com/office/drawing/2014/main" id="{A9D6776E-E405-C513-4EA5-FB364A7A4E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2103" y="-3433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3" name="Kép 1082">
            <a:extLst>
              <a:ext uri="{FF2B5EF4-FFF2-40B4-BE49-F238E27FC236}">
                <a16:creationId xmlns:a16="http://schemas.microsoft.com/office/drawing/2014/main" id="{49E7F68E-E351-80AA-E88A-7A9B18A102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6349" y="-343393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4" name="Kép 1083">
            <a:extLst>
              <a:ext uri="{FF2B5EF4-FFF2-40B4-BE49-F238E27FC236}">
                <a16:creationId xmlns:a16="http://schemas.microsoft.com/office/drawing/2014/main" id="{D11BFF4E-006C-A373-D423-290166CEC2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29481" y="-26129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5" name="Kép 1084">
            <a:extLst>
              <a:ext uri="{FF2B5EF4-FFF2-40B4-BE49-F238E27FC236}">
                <a16:creationId xmlns:a16="http://schemas.microsoft.com/office/drawing/2014/main" id="{D0C6FBEE-BF76-3874-252E-F63792D78D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38256" y="-26117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6" name="Kép 1085">
            <a:extLst>
              <a:ext uri="{FF2B5EF4-FFF2-40B4-BE49-F238E27FC236}">
                <a16:creationId xmlns:a16="http://schemas.microsoft.com/office/drawing/2014/main" id="{78BA76A6-FC46-5532-C401-1DEF08C8A0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48303" y="-26117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7" name="Kép 1086" descr="A képen szöveg látható&#10;&#10;Automatikusan generált leírás">
            <a:extLst>
              <a:ext uri="{FF2B5EF4-FFF2-40B4-BE49-F238E27FC236}">
                <a16:creationId xmlns:a16="http://schemas.microsoft.com/office/drawing/2014/main" id="{B4FE6D7F-510C-E3ED-5E85-1622CCE817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24010" y="-30228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8" name="Kép 1087">
            <a:extLst>
              <a:ext uri="{FF2B5EF4-FFF2-40B4-BE49-F238E27FC236}">
                <a16:creationId xmlns:a16="http://schemas.microsoft.com/office/drawing/2014/main" id="{01D15D5C-5F9F-1C82-7B02-26843301B2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38256" y="-302281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89" name="Kép 1088">
            <a:extLst>
              <a:ext uri="{FF2B5EF4-FFF2-40B4-BE49-F238E27FC236}">
                <a16:creationId xmlns:a16="http://schemas.microsoft.com/office/drawing/2014/main" id="{BA1EABB8-FA49-BD7F-DB55-DE79DAA8F8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72444" y="-38444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0" name="Kép 1089">
            <a:extLst>
              <a:ext uri="{FF2B5EF4-FFF2-40B4-BE49-F238E27FC236}">
                <a16:creationId xmlns:a16="http://schemas.microsoft.com/office/drawing/2014/main" id="{F65B5202-CE07-6F92-3C6D-BB2726EBBD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83986" y="-38444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1" name="Kép 1090">
            <a:extLst>
              <a:ext uri="{FF2B5EF4-FFF2-40B4-BE49-F238E27FC236}">
                <a16:creationId xmlns:a16="http://schemas.microsoft.com/office/drawing/2014/main" id="{57ACA87F-0798-4791-40FE-1B177420BE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95529" y="-384442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2" name="Kép 1091">
            <a:extLst>
              <a:ext uri="{FF2B5EF4-FFF2-40B4-BE49-F238E27FC236}">
                <a16:creationId xmlns:a16="http://schemas.microsoft.com/office/drawing/2014/main" id="{8C702A44-7E5B-1015-165B-54C6A14A3A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07191" y="-425246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3" name="Kép 1092">
            <a:extLst>
              <a:ext uri="{FF2B5EF4-FFF2-40B4-BE49-F238E27FC236}">
                <a16:creationId xmlns:a16="http://schemas.microsoft.com/office/drawing/2014/main" id="{0AF633B2-4CDE-FB53-EAAD-323442A381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3979" y="339855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4" name="Kép 1093">
            <a:extLst>
              <a:ext uri="{FF2B5EF4-FFF2-40B4-BE49-F238E27FC236}">
                <a16:creationId xmlns:a16="http://schemas.microsoft.com/office/drawing/2014/main" id="{51C8CA58-F35F-3BBB-354C-87BC7BF553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2007" y="3810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5" name="Kép 1094">
            <a:extLst>
              <a:ext uri="{FF2B5EF4-FFF2-40B4-BE49-F238E27FC236}">
                <a16:creationId xmlns:a16="http://schemas.microsoft.com/office/drawing/2014/main" id="{D66BEFB3-78B8-3475-543B-E2FA4DDB0A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1960" y="381065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6" name="Kép 1095">
            <a:extLst>
              <a:ext uri="{FF2B5EF4-FFF2-40B4-BE49-F238E27FC236}">
                <a16:creationId xmlns:a16="http://schemas.microsoft.com/office/drawing/2014/main" id="{AFB577D6-6C82-8997-CD04-B5474B4494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1960" y="42205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7" name="Kép 1096">
            <a:extLst>
              <a:ext uri="{FF2B5EF4-FFF2-40B4-BE49-F238E27FC236}">
                <a16:creationId xmlns:a16="http://schemas.microsoft.com/office/drawing/2014/main" id="{40682196-8A28-0830-6592-BBF5A6A8B7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0418" y="422052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8" name="Kép 1097" descr="A képen szöveg látható&#10;&#10;Automatikusan generált leírás">
            <a:extLst>
              <a:ext uri="{FF2B5EF4-FFF2-40B4-BE49-F238E27FC236}">
                <a16:creationId xmlns:a16="http://schemas.microsoft.com/office/drawing/2014/main" id="{F4487336-F2C4-D365-8005-272FD59D53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6253" y="33995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99" name="Kép 1098">
            <a:extLst>
              <a:ext uri="{FF2B5EF4-FFF2-40B4-BE49-F238E27FC236}">
                <a16:creationId xmlns:a16="http://schemas.microsoft.com/office/drawing/2014/main" id="{71B75EEF-F699-4D48-C9EE-80CC0D6397E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2007" y="339953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0" name="Kép 1099">
            <a:extLst>
              <a:ext uri="{FF2B5EF4-FFF2-40B4-BE49-F238E27FC236}">
                <a16:creationId xmlns:a16="http://schemas.microsoft.com/office/drawing/2014/main" id="{6BF8787F-5D64-BB84-3198-3D08DCBB7C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2007" y="42202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1" name="Kép 1100">
            <a:extLst>
              <a:ext uri="{FF2B5EF4-FFF2-40B4-BE49-F238E27FC236}">
                <a16:creationId xmlns:a16="http://schemas.microsoft.com/office/drawing/2014/main" id="{3EABA5EC-D319-A5F4-D49A-8130E14C7A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378" y="46313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2" name="Kép 1101">
            <a:extLst>
              <a:ext uri="{FF2B5EF4-FFF2-40B4-BE49-F238E27FC236}">
                <a16:creationId xmlns:a16="http://schemas.microsoft.com/office/drawing/2014/main" id="{8B04B8ED-D63A-B12C-B2D2-F0A216765D3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1140" y="46313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3" name="Kép 1102">
            <a:extLst>
              <a:ext uri="{FF2B5EF4-FFF2-40B4-BE49-F238E27FC236}">
                <a16:creationId xmlns:a16="http://schemas.microsoft.com/office/drawing/2014/main" id="{DC7A3C08-C130-AB87-6A5B-B14B293109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1331" y="46313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4" name="Kép 1103">
            <a:extLst>
              <a:ext uri="{FF2B5EF4-FFF2-40B4-BE49-F238E27FC236}">
                <a16:creationId xmlns:a16="http://schemas.microsoft.com/office/drawing/2014/main" id="{22E0A02F-46DA-21F8-4524-5208548667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1331" y="50412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5" name="Kép 1104">
            <a:extLst>
              <a:ext uri="{FF2B5EF4-FFF2-40B4-BE49-F238E27FC236}">
                <a16:creationId xmlns:a16="http://schemas.microsoft.com/office/drawing/2014/main" id="{AD412201-14EF-AC71-0C64-B4EF82EC02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9789" y="50412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6" name="Kép 1105" descr="A képen szöveg látható&#10;&#10;Automatikusan generált leírás">
            <a:extLst>
              <a:ext uri="{FF2B5EF4-FFF2-40B4-BE49-F238E27FC236}">
                <a16:creationId xmlns:a16="http://schemas.microsoft.com/office/drawing/2014/main" id="{C7030255-D68C-2049-E195-ABD269DA76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5624" y="42202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7" name="Kép 1106">
            <a:extLst>
              <a:ext uri="{FF2B5EF4-FFF2-40B4-BE49-F238E27FC236}">
                <a16:creationId xmlns:a16="http://schemas.microsoft.com/office/drawing/2014/main" id="{C115B6A3-9F74-4586-BB05-FB9B691668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1378" y="422021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8" name="Kép 1107">
            <a:extLst>
              <a:ext uri="{FF2B5EF4-FFF2-40B4-BE49-F238E27FC236}">
                <a16:creationId xmlns:a16="http://schemas.microsoft.com/office/drawing/2014/main" id="{875B4270-3D1E-A1C8-A681-895E3E9416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8246" y="504120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09" name="Kép 1108">
            <a:extLst>
              <a:ext uri="{FF2B5EF4-FFF2-40B4-BE49-F238E27FC236}">
                <a16:creationId xmlns:a16="http://schemas.microsoft.com/office/drawing/2014/main" id="{137AB147-D6DA-8D41-F972-CE1914B255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50424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0" name="Kép 1109">
            <a:extLst>
              <a:ext uri="{FF2B5EF4-FFF2-40B4-BE49-F238E27FC236}">
                <a16:creationId xmlns:a16="http://schemas.microsoft.com/office/drawing/2014/main" id="{DFF153A5-DF4C-3DCC-C485-0CD016E4E4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24" y="504244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1" name="Kép 1110" descr="A képen szöveg látható&#10;&#10;Automatikusan generált leírás">
            <a:extLst>
              <a:ext uri="{FF2B5EF4-FFF2-40B4-BE49-F238E27FC236}">
                <a16:creationId xmlns:a16="http://schemas.microsoft.com/office/drawing/2014/main" id="{0E5AA3F3-C3E6-3268-865C-42A116EE93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717" y="46313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2" name="Kép 1111">
            <a:extLst>
              <a:ext uri="{FF2B5EF4-FFF2-40B4-BE49-F238E27FC236}">
                <a16:creationId xmlns:a16="http://schemas.microsoft.com/office/drawing/2014/main" id="{6FEDBD17-D262-CA45-D406-75D40C46CE1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46313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3" name="Kép 1112">
            <a:extLst>
              <a:ext uri="{FF2B5EF4-FFF2-40B4-BE49-F238E27FC236}">
                <a16:creationId xmlns:a16="http://schemas.microsoft.com/office/drawing/2014/main" id="{2781FC55-9748-E19B-A379-B980992BFB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5092" y="33998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4" name="Kép 1113">
            <a:extLst>
              <a:ext uri="{FF2B5EF4-FFF2-40B4-BE49-F238E27FC236}">
                <a16:creationId xmlns:a16="http://schemas.microsoft.com/office/drawing/2014/main" id="{EDCB5CCB-EC7E-D524-D2EC-0A67F6B8C0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5283" y="33998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5" name="Kép 1114">
            <a:extLst>
              <a:ext uri="{FF2B5EF4-FFF2-40B4-BE49-F238E27FC236}">
                <a16:creationId xmlns:a16="http://schemas.microsoft.com/office/drawing/2014/main" id="{F3A4CBCB-5793-FD8E-1D5B-3842008CC1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5283" y="3809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6" name="Kép 1115">
            <a:extLst>
              <a:ext uri="{FF2B5EF4-FFF2-40B4-BE49-F238E27FC236}">
                <a16:creationId xmlns:a16="http://schemas.microsoft.com/office/drawing/2014/main" id="{A1A65E12-5E8D-BB6D-0040-172B394609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3741" y="3809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7" name="Kép 1116">
            <a:extLst>
              <a:ext uri="{FF2B5EF4-FFF2-40B4-BE49-F238E27FC236}">
                <a16:creationId xmlns:a16="http://schemas.microsoft.com/office/drawing/2014/main" id="{77347055-110D-EAA8-B36C-0059057315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2198" y="3809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8" name="Kép 1117">
            <a:extLst>
              <a:ext uri="{FF2B5EF4-FFF2-40B4-BE49-F238E27FC236}">
                <a16:creationId xmlns:a16="http://schemas.microsoft.com/office/drawing/2014/main" id="{4F60EE12-00E9-EEAC-4D26-2B40139A55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7064" y="33998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19" name="Kép 1118">
            <a:extLst>
              <a:ext uri="{FF2B5EF4-FFF2-40B4-BE49-F238E27FC236}">
                <a16:creationId xmlns:a16="http://schemas.microsoft.com/office/drawing/2014/main" id="{6A8CE3A3-0251-A7F0-88A1-6B6FB58C42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7017" y="339984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0" name="Kép 1119">
            <a:extLst>
              <a:ext uri="{FF2B5EF4-FFF2-40B4-BE49-F238E27FC236}">
                <a16:creationId xmlns:a16="http://schemas.microsoft.com/office/drawing/2014/main" id="{D03E4FBA-5726-FC2D-ED6F-8378FF7833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7017" y="3809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1" name="Kép 1120">
            <a:extLst>
              <a:ext uri="{FF2B5EF4-FFF2-40B4-BE49-F238E27FC236}">
                <a16:creationId xmlns:a16="http://schemas.microsoft.com/office/drawing/2014/main" id="{2E80FACD-019C-79A5-A303-B74BE8A073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5475" y="380971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2" name="Kép 1121">
            <a:extLst>
              <a:ext uri="{FF2B5EF4-FFF2-40B4-BE49-F238E27FC236}">
                <a16:creationId xmlns:a16="http://schemas.microsoft.com/office/drawing/2014/main" id="{FCDCE87F-2E2B-018B-971B-729C742094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7064" y="38094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3" name="Kép 1122">
            <a:extLst>
              <a:ext uri="{FF2B5EF4-FFF2-40B4-BE49-F238E27FC236}">
                <a16:creationId xmlns:a16="http://schemas.microsoft.com/office/drawing/2014/main" id="{B6CC1D00-417C-2DA7-D881-4AAE097955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6435" y="42205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4" name="Kép 1123">
            <a:extLst>
              <a:ext uri="{FF2B5EF4-FFF2-40B4-BE49-F238E27FC236}">
                <a16:creationId xmlns:a16="http://schemas.microsoft.com/office/drawing/2014/main" id="{EB513F0E-CE3A-8D30-FB64-252C8CB841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6197" y="42205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5" name="Kép 1124">
            <a:extLst>
              <a:ext uri="{FF2B5EF4-FFF2-40B4-BE49-F238E27FC236}">
                <a16:creationId xmlns:a16="http://schemas.microsoft.com/office/drawing/2014/main" id="{475E16F1-64E2-AA49-F602-93E7B7E77A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6388" y="42205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6" name="Kép 1125">
            <a:extLst>
              <a:ext uri="{FF2B5EF4-FFF2-40B4-BE49-F238E27FC236}">
                <a16:creationId xmlns:a16="http://schemas.microsoft.com/office/drawing/2014/main" id="{435877BA-B94F-C28E-A795-83241065D1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6388" y="4630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7" name="Kép 1126">
            <a:extLst>
              <a:ext uri="{FF2B5EF4-FFF2-40B4-BE49-F238E27FC236}">
                <a16:creationId xmlns:a16="http://schemas.microsoft.com/office/drawing/2014/main" id="{3CA20786-D061-1C77-AEFD-98A5B23841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4846" y="4630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8" name="Kép 1127" descr="A képen szöveg látható&#10;&#10;Automatikusan generált leírás">
            <a:extLst>
              <a:ext uri="{FF2B5EF4-FFF2-40B4-BE49-F238E27FC236}">
                <a16:creationId xmlns:a16="http://schemas.microsoft.com/office/drawing/2014/main" id="{A4426051-A313-BF98-4B69-8BFF718042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0681" y="38094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29" name="Kép 1128">
            <a:extLst>
              <a:ext uri="{FF2B5EF4-FFF2-40B4-BE49-F238E27FC236}">
                <a16:creationId xmlns:a16="http://schemas.microsoft.com/office/drawing/2014/main" id="{BF0783B6-66B1-13BE-2CF2-87CA7651C4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6435" y="38094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0" name="Kép 1129">
            <a:extLst>
              <a:ext uri="{FF2B5EF4-FFF2-40B4-BE49-F238E27FC236}">
                <a16:creationId xmlns:a16="http://schemas.microsoft.com/office/drawing/2014/main" id="{9956A45F-6B8C-6353-69A7-781DE402B5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3303" y="463039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1" name="Kép 1130">
            <a:extLst>
              <a:ext uri="{FF2B5EF4-FFF2-40B4-BE49-F238E27FC236}">
                <a16:creationId xmlns:a16="http://schemas.microsoft.com/office/drawing/2014/main" id="{BF55835D-BC93-889A-E3EE-148AD44579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4528" y="46316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2" name="Kép 1131">
            <a:extLst>
              <a:ext uri="{FF2B5EF4-FFF2-40B4-BE49-F238E27FC236}">
                <a16:creationId xmlns:a16="http://schemas.microsoft.com/office/drawing/2014/main" id="{A48A63AD-8732-8328-14FE-AFA34F8A35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4481" y="463163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3" name="Kép 1132" descr="A képen szöveg látható&#10;&#10;Automatikusan generált leírás">
            <a:extLst>
              <a:ext uri="{FF2B5EF4-FFF2-40B4-BE49-F238E27FC236}">
                <a16:creationId xmlns:a16="http://schemas.microsoft.com/office/drawing/2014/main" id="{E1C46459-D8BE-6066-57B7-362DCA0B77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8774" y="42205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4" name="Kép 1133">
            <a:extLst>
              <a:ext uri="{FF2B5EF4-FFF2-40B4-BE49-F238E27FC236}">
                <a16:creationId xmlns:a16="http://schemas.microsoft.com/office/drawing/2014/main" id="{EC5526DD-5BE5-AE2C-E3F1-65872667A6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4528" y="42205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5" name="Kép 1134">
            <a:extLst>
              <a:ext uri="{FF2B5EF4-FFF2-40B4-BE49-F238E27FC236}">
                <a16:creationId xmlns:a16="http://schemas.microsoft.com/office/drawing/2014/main" id="{C1A07F3E-5297-CD82-7446-BE45340D8F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0340" y="3398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6" name="Kép 1135">
            <a:extLst>
              <a:ext uri="{FF2B5EF4-FFF2-40B4-BE49-F238E27FC236}">
                <a16:creationId xmlns:a16="http://schemas.microsoft.com/office/drawing/2014/main" id="{8D2C9E1D-144E-DC9A-95F8-5AA9534017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8798" y="3398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7" name="Kép 1136">
            <a:extLst>
              <a:ext uri="{FF2B5EF4-FFF2-40B4-BE49-F238E27FC236}">
                <a16:creationId xmlns:a16="http://schemas.microsoft.com/office/drawing/2014/main" id="{8F05CF0E-3AB6-96A7-3F2F-770AB7B24D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7255" y="339890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8" name="Kép 1137">
            <a:extLst>
              <a:ext uri="{FF2B5EF4-FFF2-40B4-BE49-F238E27FC236}">
                <a16:creationId xmlns:a16="http://schemas.microsoft.com/office/drawing/2014/main" id="{91E8062D-8C36-105A-C8B4-AE7E3BF2FF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7744" y="54516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39" name="Kép 1138">
            <a:extLst>
              <a:ext uri="{FF2B5EF4-FFF2-40B4-BE49-F238E27FC236}">
                <a16:creationId xmlns:a16="http://schemas.microsoft.com/office/drawing/2014/main" id="{2C31FB0C-38B1-D2E7-4953-C9A8175DEA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7697" y="545169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0" name="Kép 1139">
            <a:extLst>
              <a:ext uri="{FF2B5EF4-FFF2-40B4-BE49-F238E27FC236}">
                <a16:creationId xmlns:a16="http://schemas.microsoft.com/office/drawing/2014/main" id="{FF7B5F22-1AF5-12AC-A65C-517031A815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7697" y="58615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1" name="Kép 1140">
            <a:extLst>
              <a:ext uri="{FF2B5EF4-FFF2-40B4-BE49-F238E27FC236}">
                <a16:creationId xmlns:a16="http://schemas.microsoft.com/office/drawing/2014/main" id="{9B23F780-DC52-1F17-298D-B8EA01CCD5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6155" y="586157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2" name="Kép 1141" descr="A képen szöveg látható&#10;&#10;Automatikusan generált leírás">
            <a:extLst>
              <a:ext uri="{FF2B5EF4-FFF2-40B4-BE49-F238E27FC236}">
                <a16:creationId xmlns:a16="http://schemas.microsoft.com/office/drawing/2014/main" id="{46E6874F-BE51-189A-DF65-D5792DECE2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1990" y="50405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3" name="Kép 1142">
            <a:extLst>
              <a:ext uri="{FF2B5EF4-FFF2-40B4-BE49-F238E27FC236}">
                <a16:creationId xmlns:a16="http://schemas.microsoft.com/office/drawing/2014/main" id="{F2EF56F1-6E0C-D762-ECE0-F675145564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7744" y="50405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4" name="Kép 1143">
            <a:extLst>
              <a:ext uri="{FF2B5EF4-FFF2-40B4-BE49-F238E27FC236}">
                <a16:creationId xmlns:a16="http://schemas.microsoft.com/office/drawing/2014/main" id="{D42E1D18-8E75-85C1-EFB7-43D3CEF65C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7744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5" name="Kép 1144">
            <a:extLst>
              <a:ext uri="{FF2B5EF4-FFF2-40B4-BE49-F238E27FC236}">
                <a16:creationId xmlns:a16="http://schemas.microsoft.com/office/drawing/2014/main" id="{71B371D2-7163-AB49-57CB-F6F199FA1C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115" y="62723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6" name="Kép 1145">
            <a:extLst>
              <a:ext uri="{FF2B5EF4-FFF2-40B4-BE49-F238E27FC236}">
                <a16:creationId xmlns:a16="http://schemas.microsoft.com/office/drawing/2014/main" id="{1CBE682F-6123-7CE5-24E6-43F47CB78B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6877" y="62723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7" name="Kép 1146">
            <a:extLst>
              <a:ext uri="{FF2B5EF4-FFF2-40B4-BE49-F238E27FC236}">
                <a16:creationId xmlns:a16="http://schemas.microsoft.com/office/drawing/2014/main" id="{E7757CEF-B55D-722A-C31C-091D6EEFDD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7068" y="62723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8" name="Kép 1147">
            <a:extLst>
              <a:ext uri="{FF2B5EF4-FFF2-40B4-BE49-F238E27FC236}">
                <a16:creationId xmlns:a16="http://schemas.microsoft.com/office/drawing/2014/main" id="{9B99A09C-313E-FD93-67C5-E117D11F2C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7068" y="66822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49" name="Kép 1148">
            <a:extLst>
              <a:ext uri="{FF2B5EF4-FFF2-40B4-BE49-F238E27FC236}">
                <a16:creationId xmlns:a16="http://schemas.microsoft.com/office/drawing/2014/main" id="{6809620A-72CB-6756-421A-355964343E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5526" y="66822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0" name="Kép 1149" descr="A képen szöveg látható&#10;&#10;Automatikusan generált leírás">
            <a:extLst>
              <a:ext uri="{FF2B5EF4-FFF2-40B4-BE49-F238E27FC236}">
                <a16:creationId xmlns:a16="http://schemas.microsoft.com/office/drawing/2014/main" id="{DB8C646D-C83B-522F-E229-9E871AA716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1361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1" name="Kép 1150">
            <a:extLst>
              <a:ext uri="{FF2B5EF4-FFF2-40B4-BE49-F238E27FC236}">
                <a16:creationId xmlns:a16="http://schemas.microsoft.com/office/drawing/2014/main" id="{EB26B024-6148-0EC0-0EF5-1FEC13290E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115" y="5861257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2" name="Kép 1151">
            <a:extLst>
              <a:ext uri="{FF2B5EF4-FFF2-40B4-BE49-F238E27FC236}">
                <a16:creationId xmlns:a16="http://schemas.microsoft.com/office/drawing/2014/main" id="{799918BE-A5F3-343D-5DF1-976FCA561E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983" y="6682246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3" name="Kép 1152">
            <a:extLst>
              <a:ext uri="{FF2B5EF4-FFF2-40B4-BE49-F238E27FC236}">
                <a16:creationId xmlns:a16="http://schemas.microsoft.com/office/drawing/2014/main" id="{52700B00-E2A8-04D3-1DEE-54164C7387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08" y="66834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4" name="Kép 1153">
            <a:extLst>
              <a:ext uri="{FF2B5EF4-FFF2-40B4-BE49-F238E27FC236}">
                <a16:creationId xmlns:a16="http://schemas.microsoft.com/office/drawing/2014/main" id="{1BDAE06D-96A5-3B8D-5BF3-562B871FA6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5161" y="668349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5" name="Kép 1154" descr="A képen szöveg látható&#10;&#10;Automatikusan generált leírás">
            <a:extLst>
              <a:ext uri="{FF2B5EF4-FFF2-40B4-BE49-F238E27FC236}">
                <a16:creationId xmlns:a16="http://schemas.microsoft.com/office/drawing/2014/main" id="{299AC764-92EF-CD45-639B-7AB9A0C6D8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454" y="62723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6" name="Kép 1155">
            <a:extLst>
              <a:ext uri="{FF2B5EF4-FFF2-40B4-BE49-F238E27FC236}">
                <a16:creationId xmlns:a16="http://schemas.microsoft.com/office/drawing/2014/main" id="{EF61EED6-4D3E-850D-7528-881111D898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08" y="6272373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7" name="Kép 1156">
            <a:extLst>
              <a:ext uri="{FF2B5EF4-FFF2-40B4-BE49-F238E27FC236}">
                <a16:creationId xmlns:a16="http://schemas.microsoft.com/office/drawing/2014/main" id="{7AF2C336-96E8-EE23-FCEE-A4519BFBA13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0829" y="50408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8" name="Kép 1157">
            <a:extLst>
              <a:ext uri="{FF2B5EF4-FFF2-40B4-BE49-F238E27FC236}">
                <a16:creationId xmlns:a16="http://schemas.microsoft.com/office/drawing/2014/main" id="{CEC25788-C7EB-E28A-AE97-DC3457DC72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1020" y="5040889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59" name="Kép 1158">
            <a:extLst>
              <a:ext uri="{FF2B5EF4-FFF2-40B4-BE49-F238E27FC236}">
                <a16:creationId xmlns:a16="http://schemas.microsoft.com/office/drawing/2014/main" id="{BE52B748-A6E2-3896-73B2-EE5176D9AB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1020" y="54507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0" name="Kép 1159">
            <a:extLst>
              <a:ext uri="{FF2B5EF4-FFF2-40B4-BE49-F238E27FC236}">
                <a16:creationId xmlns:a16="http://schemas.microsoft.com/office/drawing/2014/main" id="{98EF1A89-D42E-E2E1-94D3-D0F14B6C62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9478" y="54507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1" name="Kép 1160">
            <a:extLst>
              <a:ext uri="{FF2B5EF4-FFF2-40B4-BE49-F238E27FC236}">
                <a16:creationId xmlns:a16="http://schemas.microsoft.com/office/drawing/2014/main" id="{B17AB518-2CE3-3DA0-C61C-3893973E1E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935" y="5450762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2" name="Kép 1161">
            <a:extLst>
              <a:ext uri="{FF2B5EF4-FFF2-40B4-BE49-F238E27FC236}">
                <a16:creationId xmlns:a16="http://schemas.microsoft.com/office/drawing/2014/main" id="{096F0875-6C6C-2917-227B-BD1279D9B2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44955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3" name="Kép 1162">
            <a:extLst>
              <a:ext uri="{FF2B5EF4-FFF2-40B4-BE49-F238E27FC236}">
                <a16:creationId xmlns:a16="http://schemas.microsoft.com/office/drawing/2014/main" id="{CDB7C1C4-0FD3-653C-FD03-48FA5890CD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44955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4" name="Kép 1163">
            <a:extLst>
              <a:ext uri="{FF2B5EF4-FFF2-40B4-BE49-F238E27FC236}">
                <a16:creationId xmlns:a16="http://schemas.microsoft.com/office/drawing/2014/main" id="{24EC0F95-8F55-092B-5BA2-4670A363C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8594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5" name="Kép 1164">
            <a:extLst>
              <a:ext uri="{FF2B5EF4-FFF2-40B4-BE49-F238E27FC236}">
                <a16:creationId xmlns:a16="http://schemas.microsoft.com/office/drawing/2014/main" id="{3B54F774-0BA6-04AB-0827-26D43B74A5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586" y="585942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6" name="Kép 1165">
            <a:extLst>
              <a:ext uri="{FF2B5EF4-FFF2-40B4-BE49-F238E27FC236}">
                <a16:creationId xmlns:a16="http://schemas.microsoft.com/office/drawing/2014/main" id="{1A8A48B0-785C-BEAD-DC8D-F71F1C8946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8591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7" name="Kép 1166">
            <a:extLst>
              <a:ext uri="{FF2B5EF4-FFF2-40B4-BE49-F238E27FC236}">
                <a16:creationId xmlns:a16="http://schemas.microsoft.com/office/drawing/2014/main" id="{A97427CD-3191-6F52-A695-F873636291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62702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8" name="Kép 1167">
            <a:extLst>
              <a:ext uri="{FF2B5EF4-FFF2-40B4-BE49-F238E27FC236}">
                <a16:creationId xmlns:a16="http://schemas.microsoft.com/office/drawing/2014/main" id="{73E1795E-1BFC-09EC-8E19-7245194569B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308" y="62702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69" name="Kép 1168">
            <a:extLst>
              <a:ext uri="{FF2B5EF4-FFF2-40B4-BE49-F238E27FC236}">
                <a16:creationId xmlns:a16="http://schemas.microsoft.com/office/drawing/2014/main" id="{FA0F0FF0-571D-8B8B-EF62-89EC02EE48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99" y="62702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0" name="Kép 1169">
            <a:extLst>
              <a:ext uri="{FF2B5EF4-FFF2-40B4-BE49-F238E27FC236}">
                <a16:creationId xmlns:a16="http://schemas.microsoft.com/office/drawing/2014/main" id="{4FE5540F-630B-2992-8837-1A2FAB16BC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99" y="66801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1" name="Kép 1170">
            <a:extLst>
              <a:ext uri="{FF2B5EF4-FFF2-40B4-BE49-F238E27FC236}">
                <a16:creationId xmlns:a16="http://schemas.microsoft.com/office/drawing/2014/main" id="{6250F8A9-142D-8C67-E2CA-76F0ED3166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7957" y="66801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2" name="Kép 1171" descr="A képen szöveg látható&#10;&#10;Automatikusan generált leírás">
            <a:extLst>
              <a:ext uri="{FF2B5EF4-FFF2-40B4-BE49-F238E27FC236}">
                <a16:creationId xmlns:a16="http://schemas.microsoft.com/office/drawing/2014/main" id="{70E1EAE7-8956-4423-4D11-45120F3466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792" y="58591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3" name="Kép 1172">
            <a:extLst>
              <a:ext uri="{FF2B5EF4-FFF2-40B4-BE49-F238E27FC236}">
                <a16:creationId xmlns:a16="http://schemas.microsoft.com/office/drawing/2014/main" id="{ADE3613C-1F83-B389-199F-8272CE67C8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5859115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4" name="Kép 1173">
            <a:extLst>
              <a:ext uri="{FF2B5EF4-FFF2-40B4-BE49-F238E27FC236}">
                <a16:creationId xmlns:a16="http://schemas.microsoft.com/office/drawing/2014/main" id="{01200075-7A53-86D4-3AD9-43823E1C9C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6414" y="6680104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5" name="Kép 1174">
            <a:extLst>
              <a:ext uri="{FF2B5EF4-FFF2-40B4-BE49-F238E27FC236}">
                <a16:creationId xmlns:a16="http://schemas.microsoft.com/office/drawing/2014/main" id="{B7018170-40A0-99D4-6108-4885D2E05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639" y="66813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6" name="Kép 1175">
            <a:extLst>
              <a:ext uri="{FF2B5EF4-FFF2-40B4-BE49-F238E27FC236}">
                <a16:creationId xmlns:a16="http://schemas.microsoft.com/office/drawing/2014/main" id="{E9985EF2-0563-FF76-D258-95005BA7BE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592" y="6681348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7" name="Kép 1176" descr="A képen szöveg látható&#10;&#10;Automatikusan generált leírás">
            <a:extLst>
              <a:ext uri="{FF2B5EF4-FFF2-40B4-BE49-F238E27FC236}">
                <a16:creationId xmlns:a16="http://schemas.microsoft.com/office/drawing/2014/main" id="{5B3E8C80-2B04-899F-CB0C-69C04F849C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885" y="62702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8" name="Kép 1177">
            <a:extLst>
              <a:ext uri="{FF2B5EF4-FFF2-40B4-BE49-F238E27FC236}">
                <a16:creationId xmlns:a16="http://schemas.microsoft.com/office/drawing/2014/main" id="{1B5BEDE0-330A-7ADF-C3A3-A9E21A2990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639" y="6270231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79" name="Kép 1178">
            <a:extLst>
              <a:ext uri="{FF2B5EF4-FFF2-40B4-BE49-F238E27FC236}">
                <a16:creationId xmlns:a16="http://schemas.microsoft.com/office/drawing/2014/main" id="{34148AA5-74FE-746A-FC88-A683A1E86A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451" y="54486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80" name="Kép 1179">
            <a:extLst>
              <a:ext uri="{FF2B5EF4-FFF2-40B4-BE49-F238E27FC236}">
                <a16:creationId xmlns:a16="http://schemas.microsoft.com/office/drawing/2014/main" id="{C5538B2E-C168-8273-EFB1-8F40F33634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909" y="54486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81" name="Kép 1180">
            <a:extLst>
              <a:ext uri="{FF2B5EF4-FFF2-40B4-BE49-F238E27FC236}">
                <a16:creationId xmlns:a16="http://schemas.microsoft.com/office/drawing/2014/main" id="{843DD925-BAE7-7BD5-1897-6326DECAAA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366" y="544862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82" name="Kép 1181">
            <a:extLst>
              <a:ext uri="{FF2B5EF4-FFF2-40B4-BE49-F238E27FC236}">
                <a16:creationId xmlns:a16="http://schemas.microsoft.com/office/drawing/2014/main" id="{E7CA0E46-C536-A124-7C2D-134DC94BFD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8704" y="5040580"/>
            <a:ext cx="688704" cy="688704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14200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um 36" hidden="1">
            <a:extLst>
              <a:ext uri="{FF2B5EF4-FFF2-40B4-BE49-F238E27FC236}">
                <a16:creationId xmlns:a16="http://schemas.microsoft.com/office/drawing/2014/main" id="{6FFA58A1-BCCF-7E6D-7046-C74579AC1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7" name="Objektum 36" hidden="1">
                        <a:extLst>
                          <a:ext uri="{FF2B5EF4-FFF2-40B4-BE49-F238E27FC236}">
                            <a16:creationId xmlns:a16="http://schemas.microsoft.com/office/drawing/2014/main" id="{6FFA58A1-BCCF-7E6D-7046-C74579AC1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>
            <a:extLst>
              <a:ext uri="{FF2B5EF4-FFF2-40B4-BE49-F238E27FC236}">
                <a16:creationId xmlns:a16="http://schemas.microsoft.com/office/drawing/2014/main" id="{C857BE17-1D10-829F-6C3D-39F01C413974}"/>
              </a:ext>
            </a:extLst>
          </p:cNvPr>
          <p:cNvSpPr/>
          <p:nvPr/>
        </p:nvSpPr>
        <p:spPr>
          <a:xfrm>
            <a:off x="704850" y="0"/>
            <a:ext cx="107823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25" name="Téglalap 1524">
            <a:extLst>
              <a:ext uri="{FF2B5EF4-FFF2-40B4-BE49-F238E27FC236}">
                <a16:creationId xmlns:a16="http://schemas.microsoft.com/office/drawing/2014/main" id="{DD89532F-1BDA-B255-F8F8-F8704540F0E6}"/>
              </a:ext>
            </a:extLst>
          </p:cNvPr>
          <p:cNvSpPr/>
          <p:nvPr/>
        </p:nvSpPr>
        <p:spPr>
          <a:xfrm>
            <a:off x="952500" y="0"/>
            <a:ext cx="10287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526" name="Kép 1525">
            <a:extLst>
              <a:ext uri="{FF2B5EF4-FFF2-40B4-BE49-F238E27FC236}">
                <a16:creationId xmlns:a16="http://schemas.microsoft.com/office/drawing/2014/main" id="{FF9F1A40-AA76-3CEB-12D5-DF563FF9E7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043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27" name="Kép 1526">
            <a:extLst>
              <a:ext uri="{FF2B5EF4-FFF2-40B4-BE49-F238E27FC236}">
                <a16:creationId xmlns:a16="http://schemas.microsoft.com/office/drawing/2014/main" id="{771E4364-3DD3-640E-812D-E897BF52EA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07182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28" name="Kép 1527">
            <a:extLst>
              <a:ext uri="{FF2B5EF4-FFF2-40B4-BE49-F238E27FC236}">
                <a16:creationId xmlns:a16="http://schemas.microsoft.com/office/drawing/2014/main" id="{EC41C582-A41F-67AD-56A0-3011A8A818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07182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29" name="Kép 1528">
            <a:extLst>
              <a:ext uri="{FF2B5EF4-FFF2-40B4-BE49-F238E27FC236}">
                <a16:creationId xmlns:a16="http://schemas.microsoft.com/office/drawing/2014/main" id="{094F8D97-0D99-4D92-05CA-6EFB9AB0E5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48169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0" name="Kép 1529">
            <a:extLst>
              <a:ext uri="{FF2B5EF4-FFF2-40B4-BE49-F238E27FC236}">
                <a16:creationId xmlns:a16="http://schemas.microsoft.com/office/drawing/2014/main" id="{ABB9013F-717E-2596-253D-396597E896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82" y="248169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1" name="Kép 1530" descr="A képen szöveg látható&#10;&#10;Automatikusan generált leírás">
            <a:extLst>
              <a:ext uri="{FF2B5EF4-FFF2-40B4-BE49-F238E27FC236}">
                <a16:creationId xmlns:a16="http://schemas.microsoft.com/office/drawing/2014/main" id="{0DFEF9F2-0C89-3802-D2B0-01BE569F92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17" y="166070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2" name="Kép 1531">
            <a:extLst>
              <a:ext uri="{FF2B5EF4-FFF2-40B4-BE49-F238E27FC236}">
                <a16:creationId xmlns:a16="http://schemas.microsoft.com/office/drawing/2014/main" id="{C4021A63-2B11-87A5-35F5-EBAA2801CA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166070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3" name="Kép 1532">
            <a:extLst>
              <a:ext uri="{FF2B5EF4-FFF2-40B4-BE49-F238E27FC236}">
                <a16:creationId xmlns:a16="http://schemas.microsoft.com/office/drawing/2014/main" id="{234A1C0F-4CCF-7103-7143-25BF09FA8B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4" name="Kép 1533">
            <a:extLst>
              <a:ext uri="{FF2B5EF4-FFF2-40B4-BE49-F238E27FC236}">
                <a16:creationId xmlns:a16="http://schemas.microsoft.com/office/drawing/2014/main" id="{A4803706-A770-51AB-E5A5-DB8F356993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5" name="Kép 1534">
            <a:extLst>
              <a:ext uri="{FF2B5EF4-FFF2-40B4-BE49-F238E27FC236}">
                <a16:creationId xmlns:a16="http://schemas.microsoft.com/office/drawing/2014/main" id="{D8ACA88A-AB13-B3B1-E4D0-5B9CD33379D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204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6" name="Kép 1535">
            <a:extLst>
              <a:ext uri="{FF2B5EF4-FFF2-40B4-BE49-F238E27FC236}">
                <a16:creationId xmlns:a16="http://schemas.microsoft.com/office/drawing/2014/main" id="{7C4F4C1A-3C9B-342A-A84D-4CB803EA35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7" name="Kép 1536">
            <a:extLst>
              <a:ext uri="{FF2B5EF4-FFF2-40B4-BE49-F238E27FC236}">
                <a16:creationId xmlns:a16="http://schemas.microsoft.com/office/drawing/2014/main" id="{6DE44342-DFA7-7256-29E2-D6D25D0C3B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8" name="Kép 1537">
            <a:extLst>
              <a:ext uri="{FF2B5EF4-FFF2-40B4-BE49-F238E27FC236}">
                <a16:creationId xmlns:a16="http://schemas.microsoft.com/office/drawing/2014/main" id="{BB63385D-C5A9-9524-9F42-55552FD1A1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53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9" name="Kép 1538" descr="A képen szöveg látható&#10;&#10;Automatikusan generált leírás">
            <a:extLst>
              <a:ext uri="{FF2B5EF4-FFF2-40B4-BE49-F238E27FC236}">
                <a16:creationId xmlns:a16="http://schemas.microsoft.com/office/drawing/2014/main" id="{70E227D9-4578-B1C8-D60D-C5141DB07D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688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0" name="Kép 1539">
            <a:extLst>
              <a:ext uri="{FF2B5EF4-FFF2-40B4-BE49-F238E27FC236}">
                <a16:creationId xmlns:a16="http://schemas.microsoft.com/office/drawing/2014/main" id="{5531872B-195A-15E5-2043-CFDFD78D97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1" name="Kép 1540">
            <a:extLst>
              <a:ext uri="{FF2B5EF4-FFF2-40B4-BE49-F238E27FC236}">
                <a16:creationId xmlns:a16="http://schemas.microsoft.com/office/drawing/2014/main" id="{8D3DDF9C-9E83-6BB9-229B-262FF30AA9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310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2" name="Kép 1541">
            <a:extLst>
              <a:ext uri="{FF2B5EF4-FFF2-40B4-BE49-F238E27FC236}">
                <a16:creationId xmlns:a16="http://schemas.microsoft.com/office/drawing/2014/main" id="{A63DC22A-5576-21C4-903C-D2D39946B0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33036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3" name="Kép 1542">
            <a:extLst>
              <a:ext uri="{FF2B5EF4-FFF2-40B4-BE49-F238E27FC236}">
                <a16:creationId xmlns:a16="http://schemas.microsoft.com/office/drawing/2014/main" id="{ED99FD75-1484-4F2D-A14C-FBAA0FE0D6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488" y="33036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4" name="Kép 1543" descr="A képen szöveg látható&#10;&#10;Automatikusan generált leírás">
            <a:extLst>
              <a:ext uri="{FF2B5EF4-FFF2-40B4-BE49-F238E27FC236}">
                <a16:creationId xmlns:a16="http://schemas.microsoft.com/office/drawing/2014/main" id="{B3DD6F70-1207-E6AE-28B0-59986BACB3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781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5" name="Kép 1544">
            <a:extLst>
              <a:ext uri="{FF2B5EF4-FFF2-40B4-BE49-F238E27FC236}">
                <a16:creationId xmlns:a16="http://schemas.microsoft.com/office/drawing/2014/main" id="{517F0B44-2642-1C03-50AF-9BA3FC68D6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6" name="Kép 1545">
            <a:extLst>
              <a:ext uri="{FF2B5EF4-FFF2-40B4-BE49-F238E27FC236}">
                <a16:creationId xmlns:a16="http://schemas.microsoft.com/office/drawing/2014/main" id="{13D5DD72-7C1E-7B11-8130-E5BC38381D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156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7" name="Kép 1546">
            <a:extLst>
              <a:ext uri="{FF2B5EF4-FFF2-40B4-BE49-F238E27FC236}">
                <a16:creationId xmlns:a16="http://schemas.microsoft.com/office/drawing/2014/main" id="{039DA262-6901-8A5F-4BA0-AB7DB47A5A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8" name="Kép 1547">
            <a:extLst>
              <a:ext uri="{FF2B5EF4-FFF2-40B4-BE49-F238E27FC236}">
                <a16:creationId xmlns:a16="http://schemas.microsoft.com/office/drawing/2014/main" id="{1E576028-C2CE-D7A5-138F-82CF5B486D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9" name="Kép 1548">
            <a:extLst>
              <a:ext uri="{FF2B5EF4-FFF2-40B4-BE49-F238E27FC236}">
                <a16:creationId xmlns:a16="http://schemas.microsoft.com/office/drawing/2014/main" id="{68C5AD78-81F8-D431-9E0E-5D74523E62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805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0" name="Kép 1549">
            <a:extLst>
              <a:ext uri="{FF2B5EF4-FFF2-40B4-BE49-F238E27FC236}">
                <a16:creationId xmlns:a16="http://schemas.microsoft.com/office/drawing/2014/main" id="{7B517AF7-E309-DAD1-C7B1-7F86190BDD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262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1" name="Kép 1550">
            <a:extLst>
              <a:ext uri="{FF2B5EF4-FFF2-40B4-BE49-F238E27FC236}">
                <a16:creationId xmlns:a16="http://schemas.microsoft.com/office/drawing/2014/main" id="{1A820D8C-BB28-DC70-9F6E-7AF1F12B11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2" name="Kép 1551">
            <a:extLst>
              <a:ext uri="{FF2B5EF4-FFF2-40B4-BE49-F238E27FC236}">
                <a16:creationId xmlns:a16="http://schemas.microsoft.com/office/drawing/2014/main" id="{C07C5754-AD80-26DD-684B-9621E27F72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3" name="Kép 1552">
            <a:extLst>
              <a:ext uri="{FF2B5EF4-FFF2-40B4-BE49-F238E27FC236}">
                <a16:creationId xmlns:a16="http://schemas.microsoft.com/office/drawing/2014/main" id="{973D6D26-823D-99C1-E4E4-133FD4AAD5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4" name="Kép 1553">
            <a:extLst>
              <a:ext uri="{FF2B5EF4-FFF2-40B4-BE49-F238E27FC236}">
                <a16:creationId xmlns:a16="http://schemas.microsoft.com/office/drawing/2014/main" id="{872B0B32-12F3-FD97-32B6-509E3D7219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539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5" name="Kép 1554">
            <a:extLst>
              <a:ext uri="{FF2B5EF4-FFF2-40B4-BE49-F238E27FC236}">
                <a16:creationId xmlns:a16="http://schemas.microsoft.com/office/drawing/2014/main" id="{C8E65B54-3F03-B538-CC83-03DCC8A01F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6" name="Kép 1555">
            <a:extLst>
              <a:ext uri="{FF2B5EF4-FFF2-40B4-BE49-F238E27FC236}">
                <a16:creationId xmlns:a16="http://schemas.microsoft.com/office/drawing/2014/main" id="{B1F6CF01-FBEB-E3B1-DFF7-ECDCA8384B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7" name="Kép 1556">
            <a:extLst>
              <a:ext uri="{FF2B5EF4-FFF2-40B4-BE49-F238E27FC236}">
                <a16:creationId xmlns:a16="http://schemas.microsoft.com/office/drawing/2014/main" id="{72486002-C433-D0F5-413D-A2DEFC50AD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261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8" name="Kép 1557">
            <a:extLst>
              <a:ext uri="{FF2B5EF4-FFF2-40B4-BE49-F238E27FC236}">
                <a16:creationId xmlns:a16="http://schemas.microsoft.com/office/drawing/2014/main" id="{9999EA4C-3407-C2DF-A8D9-4F02FBB2F9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9" name="Kép 1558">
            <a:extLst>
              <a:ext uri="{FF2B5EF4-FFF2-40B4-BE49-F238E27FC236}">
                <a16:creationId xmlns:a16="http://schemas.microsoft.com/office/drawing/2014/main" id="{1CD59BBC-197B-95D4-4CAB-A34E8DDCE7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0" name="Kép 1559">
            <a:extLst>
              <a:ext uri="{FF2B5EF4-FFF2-40B4-BE49-F238E27FC236}">
                <a16:creationId xmlns:a16="http://schemas.microsoft.com/office/drawing/2014/main" id="{97FC0632-8E99-52F0-13BA-315B3DC0F0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910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1" name="Kép 1560" descr="A képen szöveg látható&#10;&#10;Automatikusan generált leírás">
            <a:extLst>
              <a:ext uri="{FF2B5EF4-FFF2-40B4-BE49-F238E27FC236}">
                <a16:creationId xmlns:a16="http://schemas.microsoft.com/office/drawing/2014/main" id="{0FEFA2EC-0961-4D1E-CB36-E8C81DB37C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4745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2" name="Kép 1561">
            <a:extLst>
              <a:ext uri="{FF2B5EF4-FFF2-40B4-BE49-F238E27FC236}">
                <a16:creationId xmlns:a16="http://schemas.microsoft.com/office/drawing/2014/main" id="{11CB7A1F-C391-C52C-B457-900F670E727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3" name="Kép 1562">
            <a:extLst>
              <a:ext uri="{FF2B5EF4-FFF2-40B4-BE49-F238E27FC236}">
                <a16:creationId xmlns:a16="http://schemas.microsoft.com/office/drawing/2014/main" id="{79359C7E-F520-8ACC-BE59-0D8CE874BA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367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4" name="Kép 1563">
            <a:extLst>
              <a:ext uri="{FF2B5EF4-FFF2-40B4-BE49-F238E27FC236}">
                <a16:creationId xmlns:a16="http://schemas.microsoft.com/office/drawing/2014/main" id="{5969AECC-6D74-F8E1-84B5-D048F5963F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8928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5" name="Kép 1564">
            <a:extLst>
              <a:ext uri="{FF2B5EF4-FFF2-40B4-BE49-F238E27FC236}">
                <a16:creationId xmlns:a16="http://schemas.microsoft.com/office/drawing/2014/main" id="{5E861DCE-1E27-2E70-9BB8-EE01CF57A7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545" y="28928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6" name="Kép 1565" descr="A képen szöveg látható&#10;&#10;Automatikusan generált leírás">
            <a:extLst>
              <a:ext uri="{FF2B5EF4-FFF2-40B4-BE49-F238E27FC236}">
                <a16:creationId xmlns:a16="http://schemas.microsoft.com/office/drawing/2014/main" id="{8976DCF9-1708-B253-9524-F483C45001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38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7" name="Kép 1566">
            <a:extLst>
              <a:ext uri="{FF2B5EF4-FFF2-40B4-BE49-F238E27FC236}">
                <a16:creationId xmlns:a16="http://schemas.microsoft.com/office/drawing/2014/main" id="{288665B2-8CB1-9CBA-8790-DF5278B0E3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8" name="Kép 1567">
            <a:extLst>
              <a:ext uri="{FF2B5EF4-FFF2-40B4-BE49-F238E27FC236}">
                <a16:creationId xmlns:a16="http://schemas.microsoft.com/office/drawing/2014/main" id="{39A55A05-B5C1-59A3-D251-B1A7EE3192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404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9" name="Kép 1568">
            <a:extLst>
              <a:ext uri="{FF2B5EF4-FFF2-40B4-BE49-F238E27FC236}">
                <a16:creationId xmlns:a16="http://schemas.microsoft.com/office/drawing/2014/main" id="{67FA85C7-3567-C57E-7CAE-DD98FA73F7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862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0" name="Kép 1569">
            <a:extLst>
              <a:ext uri="{FF2B5EF4-FFF2-40B4-BE49-F238E27FC236}">
                <a16:creationId xmlns:a16="http://schemas.microsoft.com/office/drawing/2014/main" id="{FCCAB833-CF71-BDD0-D3C2-88B3B9065C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319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1" name="Kép 1570">
            <a:extLst>
              <a:ext uri="{FF2B5EF4-FFF2-40B4-BE49-F238E27FC236}">
                <a16:creationId xmlns:a16="http://schemas.microsoft.com/office/drawing/2014/main" id="{D74E5502-48D6-94C7-AFFB-020DBDDE69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7128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2" name="Kép 1571">
            <a:extLst>
              <a:ext uri="{FF2B5EF4-FFF2-40B4-BE49-F238E27FC236}">
                <a16:creationId xmlns:a16="http://schemas.microsoft.com/office/drawing/2014/main" id="{EC80A13B-2D00-DD64-5403-3870BBAC2E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37128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3" name="Kép 1572">
            <a:extLst>
              <a:ext uri="{FF2B5EF4-FFF2-40B4-BE49-F238E27FC236}">
                <a16:creationId xmlns:a16="http://schemas.microsoft.com/office/drawing/2014/main" id="{F1AA595F-98D5-1FF6-F516-DA70421ACA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41227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4" name="Kép 1573">
            <a:extLst>
              <a:ext uri="{FF2B5EF4-FFF2-40B4-BE49-F238E27FC236}">
                <a16:creationId xmlns:a16="http://schemas.microsoft.com/office/drawing/2014/main" id="{4485BF43-B6A0-C9D1-7C3C-3C2BE13822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19" y="41227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5" name="Kép 1574" descr="A képen szöveg látható&#10;&#10;Automatikusan generált leírás">
            <a:extLst>
              <a:ext uri="{FF2B5EF4-FFF2-40B4-BE49-F238E27FC236}">
                <a16:creationId xmlns:a16="http://schemas.microsoft.com/office/drawing/2014/main" id="{8373417D-ECD9-9DE9-CEF6-C63FE59C11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054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6" name="Kép 1575">
            <a:extLst>
              <a:ext uri="{FF2B5EF4-FFF2-40B4-BE49-F238E27FC236}">
                <a16:creationId xmlns:a16="http://schemas.microsoft.com/office/drawing/2014/main" id="{66DFEDE2-FB12-8545-EAB3-87D19B203E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7" name="Kép 1576">
            <a:extLst>
              <a:ext uri="{FF2B5EF4-FFF2-40B4-BE49-F238E27FC236}">
                <a16:creationId xmlns:a16="http://schemas.microsoft.com/office/drawing/2014/main" id="{821A614E-4E88-9C9C-8CB2-BA91C65936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8" name="Kép 1577">
            <a:extLst>
              <a:ext uri="{FF2B5EF4-FFF2-40B4-BE49-F238E27FC236}">
                <a16:creationId xmlns:a16="http://schemas.microsoft.com/office/drawing/2014/main" id="{B8AA7D25-7308-B4BD-FC1C-E423CA20BA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9" name="Kép 1578">
            <a:extLst>
              <a:ext uri="{FF2B5EF4-FFF2-40B4-BE49-F238E27FC236}">
                <a16:creationId xmlns:a16="http://schemas.microsoft.com/office/drawing/2014/main" id="{0CFBA4B4-F2D4-8F7F-6417-A0595D6648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941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0" name="Kép 1579">
            <a:extLst>
              <a:ext uri="{FF2B5EF4-FFF2-40B4-BE49-F238E27FC236}">
                <a16:creationId xmlns:a16="http://schemas.microsoft.com/office/drawing/2014/main" id="{CD8F5E8F-7305-17E4-5623-6660386A20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1" name="Kép 1580">
            <a:extLst>
              <a:ext uri="{FF2B5EF4-FFF2-40B4-BE49-F238E27FC236}">
                <a16:creationId xmlns:a16="http://schemas.microsoft.com/office/drawing/2014/main" id="{1400C181-5936-1AD8-4EAA-6421500B0D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2" name="Kép 1581">
            <a:extLst>
              <a:ext uri="{FF2B5EF4-FFF2-40B4-BE49-F238E27FC236}">
                <a16:creationId xmlns:a16="http://schemas.microsoft.com/office/drawing/2014/main" id="{4FE7D0D5-6AE6-F637-E68C-E5D3F73BC5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590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3" name="Kép 1582" descr="A képen szöveg látható&#10;&#10;Automatikusan generált leírás">
            <a:extLst>
              <a:ext uri="{FF2B5EF4-FFF2-40B4-BE49-F238E27FC236}">
                <a16:creationId xmlns:a16="http://schemas.microsoft.com/office/drawing/2014/main" id="{94E6C218-8A9B-5882-13BB-C04884405A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5425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4" name="Kép 1583">
            <a:extLst>
              <a:ext uri="{FF2B5EF4-FFF2-40B4-BE49-F238E27FC236}">
                <a16:creationId xmlns:a16="http://schemas.microsoft.com/office/drawing/2014/main" id="{BAA3F66C-CE6D-1152-6F67-40EE9ACFE26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5" name="Kép 1584">
            <a:extLst>
              <a:ext uri="{FF2B5EF4-FFF2-40B4-BE49-F238E27FC236}">
                <a16:creationId xmlns:a16="http://schemas.microsoft.com/office/drawing/2014/main" id="{6FB0F994-2B88-881C-2CF8-F77D7E3630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047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6" name="Kép 1585">
            <a:extLst>
              <a:ext uri="{FF2B5EF4-FFF2-40B4-BE49-F238E27FC236}">
                <a16:creationId xmlns:a16="http://schemas.microsoft.com/office/drawing/2014/main" id="{042EAE5B-CDE5-1B61-DFEF-AEC70D2732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49446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7" name="Kép 1586">
            <a:extLst>
              <a:ext uri="{FF2B5EF4-FFF2-40B4-BE49-F238E27FC236}">
                <a16:creationId xmlns:a16="http://schemas.microsoft.com/office/drawing/2014/main" id="{32BE0131-200D-EA52-9581-B7F6662D37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225" y="49446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8" name="Kép 1587" descr="A képen szöveg látható&#10;&#10;Automatikusan generált leírás">
            <a:extLst>
              <a:ext uri="{FF2B5EF4-FFF2-40B4-BE49-F238E27FC236}">
                <a16:creationId xmlns:a16="http://schemas.microsoft.com/office/drawing/2014/main" id="{BF477B6B-6204-7803-5694-3E95165897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18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9" name="Kép 1588">
            <a:extLst>
              <a:ext uri="{FF2B5EF4-FFF2-40B4-BE49-F238E27FC236}">
                <a16:creationId xmlns:a16="http://schemas.microsoft.com/office/drawing/2014/main" id="{406EE8B5-285F-1C3A-0AB0-807FCD9AFB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0" name="Kép 1589">
            <a:extLst>
              <a:ext uri="{FF2B5EF4-FFF2-40B4-BE49-F238E27FC236}">
                <a16:creationId xmlns:a16="http://schemas.microsoft.com/office/drawing/2014/main" id="{A3E6CF04-9FB0-98CE-8DBE-266B789EB71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893" y="330206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1" name="Kép 1590">
            <a:extLst>
              <a:ext uri="{FF2B5EF4-FFF2-40B4-BE49-F238E27FC236}">
                <a16:creationId xmlns:a16="http://schemas.microsoft.com/office/drawing/2014/main" id="{90A9B7A8-8731-44C8-2D56-B82A37DDE2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30206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2" name="Kép 1591">
            <a:extLst>
              <a:ext uri="{FF2B5EF4-FFF2-40B4-BE49-F238E27FC236}">
                <a16:creationId xmlns:a16="http://schemas.microsoft.com/office/drawing/2014/main" id="{2D0AB548-E8B6-EE9A-6E8F-0B7E9CCEFE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3" name="Kép 1592">
            <a:extLst>
              <a:ext uri="{FF2B5EF4-FFF2-40B4-BE49-F238E27FC236}">
                <a16:creationId xmlns:a16="http://schemas.microsoft.com/office/drawing/2014/main" id="{656FCA17-3BAA-1569-EFB1-26BA307E0E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542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4" name="Kép 1593">
            <a:extLst>
              <a:ext uri="{FF2B5EF4-FFF2-40B4-BE49-F238E27FC236}">
                <a16:creationId xmlns:a16="http://schemas.microsoft.com/office/drawing/2014/main" id="{0AEB1A3A-B167-91B7-C06B-00A0AFF3BE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999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5" name="Kép 1594">
            <a:extLst>
              <a:ext uri="{FF2B5EF4-FFF2-40B4-BE49-F238E27FC236}">
                <a16:creationId xmlns:a16="http://schemas.microsoft.com/office/drawing/2014/main" id="{2E07A3A3-66D4-30B2-10B9-C1C0BC4569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37107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6" name="Kép 1595">
            <a:extLst>
              <a:ext uri="{FF2B5EF4-FFF2-40B4-BE49-F238E27FC236}">
                <a16:creationId xmlns:a16="http://schemas.microsoft.com/office/drawing/2014/main" id="{0D25A80F-5F8E-8A7B-77BC-5F8183322D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37107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7" name="Kép 1596">
            <a:extLst>
              <a:ext uri="{FF2B5EF4-FFF2-40B4-BE49-F238E27FC236}">
                <a16:creationId xmlns:a16="http://schemas.microsoft.com/office/drawing/2014/main" id="{19DDE4CC-F245-1F1F-08CB-84A4866027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41205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8" name="Kép 1597">
            <a:extLst>
              <a:ext uri="{FF2B5EF4-FFF2-40B4-BE49-F238E27FC236}">
                <a16:creationId xmlns:a16="http://schemas.microsoft.com/office/drawing/2014/main" id="{B6EE8498-673E-967A-29FC-CA88EF94A3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50" y="41205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9" name="Kép 1598">
            <a:extLst>
              <a:ext uri="{FF2B5EF4-FFF2-40B4-BE49-F238E27FC236}">
                <a16:creationId xmlns:a16="http://schemas.microsoft.com/office/drawing/2014/main" id="{BA9A6647-64E7-A011-6D14-BC48111A2F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0" name="Kép 1599">
            <a:extLst>
              <a:ext uri="{FF2B5EF4-FFF2-40B4-BE49-F238E27FC236}">
                <a16:creationId xmlns:a16="http://schemas.microsoft.com/office/drawing/2014/main" id="{FA3DD629-586C-B4BF-2718-86122B8245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1" name="Kép 1600">
            <a:extLst>
              <a:ext uri="{FF2B5EF4-FFF2-40B4-BE49-F238E27FC236}">
                <a16:creationId xmlns:a16="http://schemas.microsoft.com/office/drawing/2014/main" id="{FA1B35C1-8D78-532F-812A-6A1B8109CA6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372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2" name="Kép 1601">
            <a:extLst>
              <a:ext uri="{FF2B5EF4-FFF2-40B4-BE49-F238E27FC236}">
                <a16:creationId xmlns:a16="http://schemas.microsoft.com/office/drawing/2014/main" id="{04BE0491-5B03-234F-8680-ADA5A9A20F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3" name="Kép 1602">
            <a:extLst>
              <a:ext uri="{FF2B5EF4-FFF2-40B4-BE49-F238E27FC236}">
                <a16:creationId xmlns:a16="http://schemas.microsoft.com/office/drawing/2014/main" id="{C422050B-2D3E-5665-2B93-4B268A37EC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4" name="Kép 1603">
            <a:extLst>
              <a:ext uri="{FF2B5EF4-FFF2-40B4-BE49-F238E27FC236}">
                <a16:creationId xmlns:a16="http://schemas.microsoft.com/office/drawing/2014/main" id="{F5B39F71-97D7-3DB2-CDAF-7FBF2B6DC3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021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5" name="Kép 1604" descr="A képen szöveg látható&#10;&#10;Automatikusan generált leírás">
            <a:extLst>
              <a:ext uri="{FF2B5EF4-FFF2-40B4-BE49-F238E27FC236}">
                <a16:creationId xmlns:a16="http://schemas.microsoft.com/office/drawing/2014/main" id="{116F413C-D5FA-BC98-0681-B122315B89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856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6" name="Kép 1605">
            <a:extLst>
              <a:ext uri="{FF2B5EF4-FFF2-40B4-BE49-F238E27FC236}">
                <a16:creationId xmlns:a16="http://schemas.microsoft.com/office/drawing/2014/main" id="{3EF7CA53-382C-E6C5-02F0-F2291099B6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7" name="Kép 1606">
            <a:extLst>
              <a:ext uri="{FF2B5EF4-FFF2-40B4-BE49-F238E27FC236}">
                <a16:creationId xmlns:a16="http://schemas.microsoft.com/office/drawing/2014/main" id="{1810E1F4-F33A-FBF1-524B-9EF341B395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478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8" name="Kép 1607">
            <a:extLst>
              <a:ext uri="{FF2B5EF4-FFF2-40B4-BE49-F238E27FC236}">
                <a16:creationId xmlns:a16="http://schemas.microsoft.com/office/drawing/2014/main" id="{2D4E689C-9523-242F-FB35-A096A9493F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49425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9" name="Kép 1608">
            <a:extLst>
              <a:ext uri="{FF2B5EF4-FFF2-40B4-BE49-F238E27FC236}">
                <a16:creationId xmlns:a16="http://schemas.microsoft.com/office/drawing/2014/main" id="{95AAD86E-7568-7B31-C6AF-2C47B981F9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656" y="49425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0" name="Kép 1609" descr="A képen szöveg látható&#10;&#10;Automatikusan generált leírás">
            <a:extLst>
              <a:ext uri="{FF2B5EF4-FFF2-40B4-BE49-F238E27FC236}">
                <a16:creationId xmlns:a16="http://schemas.microsoft.com/office/drawing/2014/main" id="{52ECC98D-75C4-83C2-147C-0E4FB5E37F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949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1" name="Kép 1610">
            <a:extLst>
              <a:ext uri="{FF2B5EF4-FFF2-40B4-BE49-F238E27FC236}">
                <a16:creationId xmlns:a16="http://schemas.microsoft.com/office/drawing/2014/main" id="{5750E3F4-2CBD-0327-7452-95B5E006363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2" name="Kép 1611">
            <a:extLst>
              <a:ext uri="{FF2B5EF4-FFF2-40B4-BE49-F238E27FC236}">
                <a16:creationId xmlns:a16="http://schemas.microsoft.com/office/drawing/2014/main" id="{B9EE9A9B-5B58-5E2C-73DA-414609267A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515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3" name="Kép 1612">
            <a:extLst>
              <a:ext uri="{FF2B5EF4-FFF2-40B4-BE49-F238E27FC236}">
                <a16:creationId xmlns:a16="http://schemas.microsoft.com/office/drawing/2014/main" id="{78D750B0-8A73-8612-B59B-C8EDF9F907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973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4" name="Kép 1613">
            <a:extLst>
              <a:ext uri="{FF2B5EF4-FFF2-40B4-BE49-F238E27FC236}">
                <a16:creationId xmlns:a16="http://schemas.microsoft.com/office/drawing/2014/main" id="{482F00A6-E4E1-8789-A307-86DE7DBF7A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430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5" name="Kép 1614">
            <a:extLst>
              <a:ext uri="{FF2B5EF4-FFF2-40B4-BE49-F238E27FC236}">
                <a16:creationId xmlns:a16="http://schemas.microsoft.com/office/drawing/2014/main" id="{E7CE3B1D-C190-C57E-61C6-44D301E573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768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6" name="Kép 1615">
            <a:extLst>
              <a:ext uri="{FF2B5EF4-FFF2-40B4-BE49-F238E27FC236}">
                <a16:creationId xmlns:a16="http://schemas.microsoft.com/office/drawing/2014/main" id="{9658122B-947A-7529-6AC6-1BABEA7EF3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84127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7" name="Kép 1616">
            <a:extLst>
              <a:ext uri="{FF2B5EF4-FFF2-40B4-BE49-F238E27FC236}">
                <a16:creationId xmlns:a16="http://schemas.microsoft.com/office/drawing/2014/main" id="{02B79317-9231-0F18-F642-FA1B30411C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84127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8" name="Kép 1617">
            <a:extLst>
              <a:ext uri="{FF2B5EF4-FFF2-40B4-BE49-F238E27FC236}">
                <a16:creationId xmlns:a16="http://schemas.microsoft.com/office/drawing/2014/main" id="{828BDABB-3FD8-7E1C-30EE-3CC4DD3BFF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12511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9" name="Kép 1618">
            <a:extLst>
              <a:ext uri="{FF2B5EF4-FFF2-40B4-BE49-F238E27FC236}">
                <a16:creationId xmlns:a16="http://schemas.microsoft.com/office/drawing/2014/main" id="{A38A4B57-DB7D-5FD8-6F84-C2B90018DE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093" y="12511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0" name="Kép 1619">
            <a:extLst>
              <a:ext uri="{FF2B5EF4-FFF2-40B4-BE49-F238E27FC236}">
                <a16:creationId xmlns:a16="http://schemas.microsoft.com/office/drawing/2014/main" id="{2489D0CB-E191-BDC6-DAB2-ADA3001FA5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43015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1" name="Kép 1620">
            <a:extLst>
              <a:ext uri="{FF2B5EF4-FFF2-40B4-BE49-F238E27FC236}">
                <a16:creationId xmlns:a16="http://schemas.microsoft.com/office/drawing/2014/main" id="{5191385C-6679-20BD-073F-F959D17493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12508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2" name="Kép 1621">
            <a:extLst>
              <a:ext uri="{FF2B5EF4-FFF2-40B4-BE49-F238E27FC236}">
                <a16:creationId xmlns:a16="http://schemas.microsoft.com/office/drawing/2014/main" id="{AAA6D6E5-44AD-CF98-B4C7-450EB3C448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15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3" name="Kép 1622">
            <a:extLst>
              <a:ext uri="{FF2B5EF4-FFF2-40B4-BE49-F238E27FC236}">
                <a16:creationId xmlns:a16="http://schemas.microsoft.com/office/drawing/2014/main" id="{46FBBDA8-EEDA-7BB7-2CD5-E38CB0F208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4" name="Kép 1623">
            <a:extLst>
              <a:ext uri="{FF2B5EF4-FFF2-40B4-BE49-F238E27FC236}">
                <a16:creationId xmlns:a16="http://schemas.microsoft.com/office/drawing/2014/main" id="{F1CAA545-561D-FEDE-9343-4561A32F44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5" name="Kép 1624">
            <a:extLst>
              <a:ext uri="{FF2B5EF4-FFF2-40B4-BE49-F238E27FC236}">
                <a16:creationId xmlns:a16="http://schemas.microsoft.com/office/drawing/2014/main" id="{8FF94AA4-4C4B-0636-993B-2C9B483BFA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464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6" name="Kép 1625">
            <a:extLst>
              <a:ext uri="{FF2B5EF4-FFF2-40B4-BE49-F238E27FC236}">
                <a16:creationId xmlns:a16="http://schemas.microsoft.com/office/drawing/2014/main" id="{3EBF7E0E-3D93-C5D5-A9AE-676FF25C66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921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7" name="Kép 1626">
            <a:extLst>
              <a:ext uri="{FF2B5EF4-FFF2-40B4-BE49-F238E27FC236}">
                <a16:creationId xmlns:a16="http://schemas.microsoft.com/office/drawing/2014/main" id="{DDE726C1-F8A0-EBA4-8BD8-6321536A84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2073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8" name="Kép 1627">
            <a:extLst>
              <a:ext uri="{FF2B5EF4-FFF2-40B4-BE49-F238E27FC236}">
                <a16:creationId xmlns:a16="http://schemas.microsoft.com/office/drawing/2014/main" id="{D3AD49D1-0BE4-E220-D16D-321FAC6329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99" y="2073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9" name="Kép 1628" descr="A képen szöveg látható&#10;&#10;Automatikusan generált leírás">
            <a:extLst>
              <a:ext uri="{FF2B5EF4-FFF2-40B4-BE49-F238E27FC236}">
                <a16:creationId xmlns:a16="http://schemas.microsoft.com/office/drawing/2014/main" id="{370A3409-287B-AFA6-2BB1-CE9FE2F98A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392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0" name="Kép 1629">
            <a:extLst>
              <a:ext uri="{FF2B5EF4-FFF2-40B4-BE49-F238E27FC236}">
                <a16:creationId xmlns:a16="http://schemas.microsoft.com/office/drawing/2014/main" id="{8AAD98CA-C83A-7F52-5DB1-5F20F1C5CF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1" name="Kép 1630">
            <a:extLst>
              <a:ext uri="{FF2B5EF4-FFF2-40B4-BE49-F238E27FC236}">
                <a16:creationId xmlns:a16="http://schemas.microsoft.com/office/drawing/2014/main" id="{3043B3AA-C08A-8814-C471-C4A974777C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48231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2" name="Kép 1631">
            <a:extLst>
              <a:ext uri="{FF2B5EF4-FFF2-40B4-BE49-F238E27FC236}">
                <a16:creationId xmlns:a16="http://schemas.microsoft.com/office/drawing/2014/main" id="{EC3ABB9A-3414-62DD-BEDE-698C3456D6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8921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3" name="Kép 1632">
            <a:extLst>
              <a:ext uri="{FF2B5EF4-FFF2-40B4-BE49-F238E27FC236}">
                <a16:creationId xmlns:a16="http://schemas.microsoft.com/office/drawing/2014/main" id="{D9975A91-2EC3-46D2-BA69-54ED4E0CBF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830" y="28921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4" name="Kép 1633">
            <a:extLst>
              <a:ext uri="{FF2B5EF4-FFF2-40B4-BE49-F238E27FC236}">
                <a16:creationId xmlns:a16="http://schemas.microsoft.com/office/drawing/2014/main" id="{B48EE502-4630-D911-8A1C-9C565AB9ED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552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5" name="Kép 1634">
            <a:extLst>
              <a:ext uri="{FF2B5EF4-FFF2-40B4-BE49-F238E27FC236}">
                <a16:creationId xmlns:a16="http://schemas.microsoft.com/office/drawing/2014/main" id="{46255D00-D19C-8741-D9A9-412C42DA72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201" y="37128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6" name="Kép 1635">
            <a:extLst>
              <a:ext uri="{FF2B5EF4-FFF2-40B4-BE49-F238E27FC236}">
                <a16:creationId xmlns:a16="http://schemas.microsoft.com/office/drawing/2014/main" id="{603E0E2F-68A4-4F2E-B31D-998CBBF4BB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8" y="37128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7" name="Kép 1636">
            <a:extLst>
              <a:ext uri="{FF2B5EF4-FFF2-40B4-BE49-F238E27FC236}">
                <a16:creationId xmlns:a16="http://schemas.microsoft.com/office/drawing/2014/main" id="{1672F85B-2D60-1087-3789-B8553DA128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71411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8" name="Kép 1637">
            <a:extLst>
              <a:ext uri="{FF2B5EF4-FFF2-40B4-BE49-F238E27FC236}">
                <a16:creationId xmlns:a16="http://schemas.microsoft.com/office/drawing/2014/main" id="{C6F4DFE1-16CD-8E6D-13A7-F86D271955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371411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9" name="Kép 1638" descr="A képen szöveg látható&#10;&#10;Automatikusan generált leírás">
            <a:extLst>
              <a:ext uri="{FF2B5EF4-FFF2-40B4-BE49-F238E27FC236}">
                <a16:creationId xmlns:a16="http://schemas.microsoft.com/office/drawing/2014/main" id="{A61DDF9E-9182-78A9-2666-A3C9623621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0" name="Kép 1639">
            <a:extLst>
              <a:ext uri="{FF2B5EF4-FFF2-40B4-BE49-F238E27FC236}">
                <a16:creationId xmlns:a16="http://schemas.microsoft.com/office/drawing/2014/main" id="{5C2951E1-0D6F-99FF-BDED-65F0F753BB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1" name="Kép 1640">
            <a:extLst>
              <a:ext uri="{FF2B5EF4-FFF2-40B4-BE49-F238E27FC236}">
                <a16:creationId xmlns:a16="http://schemas.microsoft.com/office/drawing/2014/main" id="{9DB6C2D7-EB03-6130-5F05-E4A018BA1E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48017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2" name="Kép 1641">
            <a:extLst>
              <a:ext uri="{FF2B5EF4-FFF2-40B4-BE49-F238E27FC236}">
                <a16:creationId xmlns:a16="http://schemas.microsoft.com/office/drawing/2014/main" id="{4AEB8138-EB9A-C173-0D3B-188FBC6736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48017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3" name="Kép 1642">
            <a:extLst>
              <a:ext uri="{FF2B5EF4-FFF2-40B4-BE49-F238E27FC236}">
                <a16:creationId xmlns:a16="http://schemas.microsoft.com/office/drawing/2014/main" id="{F0369A5C-5F15-41D1-55A3-28D30BD5BF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8900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4" name="Kép 1643">
            <a:extLst>
              <a:ext uri="{FF2B5EF4-FFF2-40B4-BE49-F238E27FC236}">
                <a16:creationId xmlns:a16="http://schemas.microsoft.com/office/drawing/2014/main" id="{501E1D48-9B10-3E08-F967-69E0864899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261" y="28900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5" name="Kép 1644">
            <a:extLst>
              <a:ext uri="{FF2B5EF4-FFF2-40B4-BE49-F238E27FC236}">
                <a16:creationId xmlns:a16="http://schemas.microsoft.com/office/drawing/2014/main" id="{496C0C3C-4DAC-6888-5374-02C1AAD512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6" name="Kép 1645">
            <a:extLst>
              <a:ext uri="{FF2B5EF4-FFF2-40B4-BE49-F238E27FC236}">
                <a16:creationId xmlns:a16="http://schemas.microsoft.com/office/drawing/2014/main" id="{9653A347-60BB-F8D2-981A-0D5F93DAF5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7" name="Kép 1646">
            <a:extLst>
              <a:ext uri="{FF2B5EF4-FFF2-40B4-BE49-F238E27FC236}">
                <a16:creationId xmlns:a16="http://schemas.microsoft.com/office/drawing/2014/main" id="{B2802238-4112-8F0B-C7B5-94F7070C87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983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8" name="Kép 1647">
            <a:extLst>
              <a:ext uri="{FF2B5EF4-FFF2-40B4-BE49-F238E27FC236}">
                <a16:creationId xmlns:a16="http://schemas.microsoft.com/office/drawing/2014/main" id="{49B611EF-D46C-AE6E-8E36-D7A5904022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9" name="Kép 1648">
            <a:extLst>
              <a:ext uri="{FF2B5EF4-FFF2-40B4-BE49-F238E27FC236}">
                <a16:creationId xmlns:a16="http://schemas.microsoft.com/office/drawing/2014/main" id="{13B39A59-778E-9AA9-1E91-424E5970D7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0" name="Kép 1649">
            <a:extLst>
              <a:ext uri="{FF2B5EF4-FFF2-40B4-BE49-F238E27FC236}">
                <a16:creationId xmlns:a16="http://schemas.microsoft.com/office/drawing/2014/main" id="{60F11F29-1EC8-5A44-1222-DABC96B98B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632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1" name="Kép 1650" descr="A képen szöveg látható&#10;&#10;Automatikusan generált leírás">
            <a:extLst>
              <a:ext uri="{FF2B5EF4-FFF2-40B4-BE49-F238E27FC236}">
                <a16:creationId xmlns:a16="http://schemas.microsoft.com/office/drawing/2014/main" id="{88B3BEEC-C0B6-0084-3835-968F8D44F7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467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2" name="Kép 1651">
            <a:extLst>
              <a:ext uri="{FF2B5EF4-FFF2-40B4-BE49-F238E27FC236}">
                <a16:creationId xmlns:a16="http://schemas.microsoft.com/office/drawing/2014/main" id="{20A57CDE-448E-07E3-7381-EC4D7F0607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3" name="Kép 1652">
            <a:extLst>
              <a:ext uri="{FF2B5EF4-FFF2-40B4-BE49-F238E27FC236}">
                <a16:creationId xmlns:a16="http://schemas.microsoft.com/office/drawing/2014/main" id="{0D66D287-B4B7-5740-1444-C54298D37D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089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4" name="Kép 1653">
            <a:extLst>
              <a:ext uri="{FF2B5EF4-FFF2-40B4-BE49-F238E27FC236}">
                <a16:creationId xmlns:a16="http://schemas.microsoft.com/office/drawing/2014/main" id="{A4F1A456-5AB3-8D70-346C-7146DF4B8C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71196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5" name="Kép 1654">
            <a:extLst>
              <a:ext uri="{FF2B5EF4-FFF2-40B4-BE49-F238E27FC236}">
                <a16:creationId xmlns:a16="http://schemas.microsoft.com/office/drawing/2014/main" id="{2168A946-C8C1-E8BD-42CB-3E23851B56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371196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6" name="Kép 1655" descr="A képen szöveg látható&#10;&#10;Automatikusan generált leírás">
            <a:extLst>
              <a:ext uri="{FF2B5EF4-FFF2-40B4-BE49-F238E27FC236}">
                <a16:creationId xmlns:a16="http://schemas.microsoft.com/office/drawing/2014/main" id="{F80E48F3-FB9D-F289-9043-D3A4A86223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7" name="Kép 1656">
            <a:extLst>
              <a:ext uri="{FF2B5EF4-FFF2-40B4-BE49-F238E27FC236}">
                <a16:creationId xmlns:a16="http://schemas.microsoft.com/office/drawing/2014/main" id="{5F5B5646-E2B2-9DD7-0187-B8C18F1851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8" name="Kép 1657">
            <a:extLst>
              <a:ext uri="{FF2B5EF4-FFF2-40B4-BE49-F238E27FC236}">
                <a16:creationId xmlns:a16="http://schemas.microsoft.com/office/drawing/2014/main" id="{B5BF4F65-E1CA-863A-97DC-61D8FA8109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126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9" name="Kép 1658">
            <a:extLst>
              <a:ext uri="{FF2B5EF4-FFF2-40B4-BE49-F238E27FC236}">
                <a16:creationId xmlns:a16="http://schemas.microsoft.com/office/drawing/2014/main" id="{F0D27C6E-3D64-A726-5F6A-692FF93A0C8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584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0" name="Kép 1659">
            <a:extLst>
              <a:ext uri="{FF2B5EF4-FFF2-40B4-BE49-F238E27FC236}">
                <a16:creationId xmlns:a16="http://schemas.microsoft.com/office/drawing/2014/main" id="{ABD21005-4B53-DDE8-8F74-C6D7EE8866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041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1" name="Kép 1660">
            <a:extLst>
              <a:ext uri="{FF2B5EF4-FFF2-40B4-BE49-F238E27FC236}">
                <a16:creationId xmlns:a16="http://schemas.microsoft.com/office/drawing/2014/main" id="{18BB7BA4-699D-A9CD-E9AB-84B1AD4F81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235" y="41239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2" name="Kép 1661">
            <a:extLst>
              <a:ext uri="{FF2B5EF4-FFF2-40B4-BE49-F238E27FC236}">
                <a16:creationId xmlns:a16="http://schemas.microsoft.com/office/drawing/2014/main" id="{164A296D-9D3D-0C5A-E8AF-D6B43A240F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53607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3" name="Kép 1662">
            <a:extLst>
              <a:ext uri="{FF2B5EF4-FFF2-40B4-BE49-F238E27FC236}">
                <a16:creationId xmlns:a16="http://schemas.microsoft.com/office/drawing/2014/main" id="{426A3769-CD4F-ADA2-F63E-6AB4D10874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453607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4" name="Kép 1663">
            <a:extLst>
              <a:ext uri="{FF2B5EF4-FFF2-40B4-BE49-F238E27FC236}">
                <a16:creationId xmlns:a16="http://schemas.microsoft.com/office/drawing/2014/main" id="{3D6A4BD7-CAD1-EA9A-8930-F469CB7864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49459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5" name="Kép 1664">
            <a:extLst>
              <a:ext uri="{FF2B5EF4-FFF2-40B4-BE49-F238E27FC236}">
                <a16:creationId xmlns:a16="http://schemas.microsoft.com/office/drawing/2014/main" id="{4346DAAB-5839-8EDD-AF7B-82B83484CAB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674" y="49459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6" name="Kép 1665" descr="A képen szöveg látható&#10;&#10;Automatikusan generált leírás">
            <a:extLst>
              <a:ext uri="{FF2B5EF4-FFF2-40B4-BE49-F238E27FC236}">
                <a16:creationId xmlns:a16="http://schemas.microsoft.com/office/drawing/2014/main" id="{11CEE6AF-99FC-5290-EA33-7ABB032149F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509" y="412496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7" name="Kép 1666">
            <a:extLst>
              <a:ext uri="{FF2B5EF4-FFF2-40B4-BE49-F238E27FC236}">
                <a16:creationId xmlns:a16="http://schemas.microsoft.com/office/drawing/2014/main" id="{06F80642-3D26-ACFC-2C6E-C0280AD7713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12496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8" name="Kép 1667">
            <a:extLst>
              <a:ext uri="{FF2B5EF4-FFF2-40B4-BE49-F238E27FC236}">
                <a16:creationId xmlns:a16="http://schemas.microsoft.com/office/drawing/2014/main" id="{9F877E51-4DD9-585D-0B30-5EE4712C66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9" name="Kép 1668">
            <a:extLst>
              <a:ext uri="{FF2B5EF4-FFF2-40B4-BE49-F238E27FC236}">
                <a16:creationId xmlns:a16="http://schemas.microsoft.com/office/drawing/2014/main" id="{8962E55E-39B8-DB5E-1802-7659E3ACCF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0" name="Kép 1669">
            <a:extLst>
              <a:ext uri="{FF2B5EF4-FFF2-40B4-BE49-F238E27FC236}">
                <a16:creationId xmlns:a16="http://schemas.microsoft.com/office/drawing/2014/main" id="{691900A9-D33E-FC15-5F96-A89AFC36690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396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1" name="Kép 1670">
            <a:extLst>
              <a:ext uri="{FF2B5EF4-FFF2-40B4-BE49-F238E27FC236}">
                <a16:creationId xmlns:a16="http://schemas.microsoft.com/office/drawing/2014/main" id="{60512225-DEC9-BFF0-D398-7BF71F9062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2" name="Kép 1671">
            <a:extLst>
              <a:ext uri="{FF2B5EF4-FFF2-40B4-BE49-F238E27FC236}">
                <a16:creationId xmlns:a16="http://schemas.microsoft.com/office/drawing/2014/main" id="{2433F64E-40F7-A310-0E96-02CBF23BBF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3" name="Kép 1672">
            <a:extLst>
              <a:ext uri="{FF2B5EF4-FFF2-40B4-BE49-F238E27FC236}">
                <a16:creationId xmlns:a16="http://schemas.microsoft.com/office/drawing/2014/main" id="{BE6BECCF-8C72-D771-4AAD-32723CFF0D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45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4" name="Kép 1673" descr="A képen szöveg látható&#10;&#10;Automatikusan generált leírás">
            <a:extLst>
              <a:ext uri="{FF2B5EF4-FFF2-40B4-BE49-F238E27FC236}">
                <a16:creationId xmlns:a16="http://schemas.microsoft.com/office/drawing/2014/main" id="{4EB9E25E-5795-3D5D-8607-64167506AF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880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5" name="Kép 1674">
            <a:extLst>
              <a:ext uri="{FF2B5EF4-FFF2-40B4-BE49-F238E27FC236}">
                <a16:creationId xmlns:a16="http://schemas.microsoft.com/office/drawing/2014/main" id="{208538A9-4C22-9A15-DF78-679C9DE16A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6" name="Kép 1675">
            <a:extLst>
              <a:ext uri="{FF2B5EF4-FFF2-40B4-BE49-F238E27FC236}">
                <a16:creationId xmlns:a16="http://schemas.microsoft.com/office/drawing/2014/main" id="{B9396A3E-ADA0-99EA-A770-0B4AA0B323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502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7" name="Kép 1676">
            <a:extLst>
              <a:ext uri="{FF2B5EF4-FFF2-40B4-BE49-F238E27FC236}">
                <a16:creationId xmlns:a16="http://schemas.microsoft.com/office/drawing/2014/main" id="{1BCB459D-9531-3AFA-D77D-E810EBFDAD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7678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8" name="Kép 1677">
            <a:extLst>
              <a:ext uri="{FF2B5EF4-FFF2-40B4-BE49-F238E27FC236}">
                <a16:creationId xmlns:a16="http://schemas.microsoft.com/office/drawing/2014/main" id="{7E2D18EB-A931-B637-4677-F62984048C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680" y="57678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9" name="Kép 1678" descr="A képen szöveg látható&#10;&#10;Automatikusan generált leírás">
            <a:extLst>
              <a:ext uri="{FF2B5EF4-FFF2-40B4-BE49-F238E27FC236}">
                <a16:creationId xmlns:a16="http://schemas.microsoft.com/office/drawing/2014/main" id="{6D111300-3C2E-71E2-4077-0106D5D487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973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0" name="Kép 1679">
            <a:extLst>
              <a:ext uri="{FF2B5EF4-FFF2-40B4-BE49-F238E27FC236}">
                <a16:creationId xmlns:a16="http://schemas.microsoft.com/office/drawing/2014/main" id="{C058BB83-C073-B6C0-6CB4-7DD6EF072A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1" name="Kép 1680">
            <a:extLst>
              <a:ext uri="{FF2B5EF4-FFF2-40B4-BE49-F238E27FC236}">
                <a16:creationId xmlns:a16="http://schemas.microsoft.com/office/drawing/2014/main" id="{B3D6DFBF-6253-9F67-D791-B19EE0B06A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348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2" name="Kép 1681">
            <a:extLst>
              <a:ext uri="{FF2B5EF4-FFF2-40B4-BE49-F238E27FC236}">
                <a16:creationId xmlns:a16="http://schemas.microsoft.com/office/drawing/2014/main" id="{42DA05C3-1F25-7021-F836-56786539F9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3" name="Kép 1682">
            <a:extLst>
              <a:ext uri="{FF2B5EF4-FFF2-40B4-BE49-F238E27FC236}">
                <a16:creationId xmlns:a16="http://schemas.microsoft.com/office/drawing/2014/main" id="{49A5F5CE-F039-63F0-F503-0042EEE29E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4" name="Kép 1683">
            <a:extLst>
              <a:ext uri="{FF2B5EF4-FFF2-40B4-BE49-F238E27FC236}">
                <a16:creationId xmlns:a16="http://schemas.microsoft.com/office/drawing/2014/main" id="{95A2D5D3-CC4C-3DB1-E46E-F03F892C8C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997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5" name="Kép 1684">
            <a:extLst>
              <a:ext uri="{FF2B5EF4-FFF2-40B4-BE49-F238E27FC236}">
                <a16:creationId xmlns:a16="http://schemas.microsoft.com/office/drawing/2014/main" id="{29D5B0B9-4BE4-61E6-DDB1-E514EFF201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454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6" name="Kép 1685">
            <a:extLst>
              <a:ext uri="{FF2B5EF4-FFF2-40B4-BE49-F238E27FC236}">
                <a16:creationId xmlns:a16="http://schemas.microsoft.com/office/drawing/2014/main" id="{C6E41795-6DCC-C288-2F70-ED6D47B318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7" name="Kép 1686">
            <a:extLst>
              <a:ext uri="{FF2B5EF4-FFF2-40B4-BE49-F238E27FC236}">
                <a16:creationId xmlns:a16="http://schemas.microsoft.com/office/drawing/2014/main" id="{D0F36B39-ABF8-777F-073B-0EDAD0362E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8" name="Kép 1687">
            <a:extLst>
              <a:ext uri="{FF2B5EF4-FFF2-40B4-BE49-F238E27FC236}">
                <a16:creationId xmlns:a16="http://schemas.microsoft.com/office/drawing/2014/main" id="{18378FC2-F3C3-E804-552F-BB7C96574F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9" name="Kép 1688">
            <a:extLst>
              <a:ext uri="{FF2B5EF4-FFF2-40B4-BE49-F238E27FC236}">
                <a16:creationId xmlns:a16="http://schemas.microsoft.com/office/drawing/2014/main" id="{7D82D4A9-D32B-9C95-0684-59BA741DBC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31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0" name="Kép 1689">
            <a:extLst>
              <a:ext uri="{FF2B5EF4-FFF2-40B4-BE49-F238E27FC236}">
                <a16:creationId xmlns:a16="http://schemas.microsoft.com/office/drawing/2014/main" id="{02EC1B98-692D-9813-6850-3148B3583C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1" name="Kép 1690">
            <a:extLst>
              <a:ext uri="{FF2B5EF4-FFF2-40B4-BE49-F238E27FC236}">
                <a16:creationId xmlns:a16="http://schemas.microsoft.com/office/drawing/2014/main" id="{947F145D-663A-750E-69BC-F2506D7F25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2" name="Kép 1691">
            <a:extLst>
              <a:ext uri="{FF2B5EF4-FFF2-40B4-BE49-F238E27FC236}">
                <a16:creationId xmlns:a16="http://schemas.microsoft.com/office/drawing/2014/main" id="{CA21C97E-D34B-647E-A87C-71D48FC2BEB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53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3" name="Kép 1692">
            <a:extLst>
              <a:ext uri="{FF2B5EF4-FFF2-40B4-BE49-F238E27FC236}">
                <a16:creationId xmlns:a16="http://schemas.microsoft.com/office/drawing/2014/main" id="{59626B1B-DBC3-DBCD-8441-5AEE4CED65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4" name="Kép 1693">
            <a:extLst>
              <a:ext uri="{FF2B5EF4-FFF2-40B4-BE49-F238E27FC236}">
                <a16:creationId xmlns:a16="http://schemas.microsoft.com/office/drawing/2014/main" id="{5DADFFF5-C01C-08C8-902C-6E8ECD47D6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5" name="Kép 1694">
            <a:extLst>
              <a:ext uri="{FF2B5EF4-FFF2-40B4-BE49-F238E27FC236}">
                <a16:creationId xmlns:a16="http://schemas.microsoft.com/office/drawing/2014/main" id="{6F49232D-FE5A-7CB2-F7A9-44DF888A5D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102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6" name="Kép 1695" descr="A képen szöveg látható&#10;&#10;Automatikusan generált leírás">
            <a:extLst>
              <a:ext uri="{FF2B5EF4-FFF2-40B4-BE49-F238E27FC236}">
                <a16:creationId xmlns:a16="http://schemas.microsoft.com/office/drawing/2014/main" id="{D376383C-9E52-9B9E-825D-6FC69514B5E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8937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7" name="Kép 1696">
            <a:extLst>
              <a:ext uri="{FF2B5EF4-FFF2-40B4-BE49-F238E27FC236}">
                <a16:creationId xmlns:a16="http://schemas.microsoft.com/office/drawing/2014/main" id="{9467472D-BBBA-B761-9011-CBE9F06679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8" name="Kép 1697">
            <a:extLst>
              <a:ext uri="{FF2B5EF4-FFF2-40B4-BE49-F238E27FC236}">
                <a16:creationId xmlns:a16="http://schemas.microsoft.com/office/drawing/2014/main" id="{FC22429D-7644-F0C7-2361-DE829DDA06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559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9" name="Kép 1698">
            <a:extLst>
              <a:ext uri="{FF2B5EF4-FFF2-40B4-BE49-F238E27FC236}">
                <a16:creationId xmlns:a16="http://schemas.microsoft.com/office/drawing/2014/main" id="{EDCAF517-AFFF-AF9B-8FB9-8379A7DC49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53570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0" name="Kép 1699">
            <a:extLst>
              <a:ext uri="{FF2B5EF4-FFF2-40B4-BE49-F238E27FC236}">
                <a16:creationId xmlns:a16="http://schemas.microsoft.com/office/drawing/2014/main" id="{0125397F-1703-AA38-8C35-CD109C1F17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737" y="53570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1" name="Kép 1700" descr="A képen szöveg látható&#10;&#10;Automatikusan generált leírás">
            <a:extLst>
              <a:ext uri="{FF2B5EF4-FFF2-40B4-BE49-F238E27FC236}">
                <a16:creationId xmlns:a16="http://schemas.microsoft.com/office/drawing/2014/main" id="{86C7A1B5-85A7-BE78-E7AA-7D208AB536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030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2" name="Kép 1701">
            <a:extLst>
              <a:ext uri="{FF2B5EF4-FFF2-40B4-BE49-F238E27FC236}">
                <a16:creationId xmlns:a16="http://schemas.microsoft.com/office/drawing/2014/main" id="{852ABE84-F97C-DA0E-D9AB-08B1345A80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3" name="Kép 1702">
            <a:extLst>
              <a:ext uri="{FF2B5EF4-FFF2-40B4-BE49-F238E27FC236}">
                <a16:creationId xmlns:a16="http://schemas.microsoft.com/office/drawing/2014/main" id="{118E95DA-B29F-5D9C-BB04-DBA204631A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8596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4" name="Kép 1703">
            <a:extLst>
              <a:ext uri="{FF2B5EF4-FFF2-40B4-BE49-F238E27FC236}">
                <a16:creationId xmlns:a16="http://schemas.microsoft.com/office/drawing/2014/main" id="{A0F85BF8-FAF9-6950-51ED-EAB576B245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54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5" name="Kép 1704">
            <a:extLst>
              <a:ext uri="{FF2B5EF4-FFF2-40B4-BE49-F238E27FC236}">
                <a16:creationId xmlns:a16="http://schemas.microsoft.com/office/drawing/2014/main" id="{78521704-F89A-1D80-78E5-C1BA369466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5511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6" name="Kép 1705">
            <a:extLst>
              <a:ext uri="{FF2B5EF4-FFF2-40B4-BE49-F238E27FC236}">
                <a16:creationId xmlns:a16="http://schemas.microsoft.com/office/drawing/2014/main" id="{E5A6AD86-458A-97C8-D7DC-FCB1C7AC1C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61771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7" name="Kép 1706">
            <a:extLst>
              <a:ext uri="{FF2B5EF4-FFF2-40B4-BE49-F238E27FC236}">
                <a16:creationId xmlns:a16="http://schemas.microsoft.com/office/drawing/2014/main" id="{44DB0AA6-9876-AF33-4A30-077F8E5A81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953" y="61771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8" name="Kép 1707" descr="A képen szöveg látható&#10;&#10;Automatikusan generált leírás">
            <a:extLst>
              <a:ext uri="{FF2B5EF4-FFF2-40B4-BE49-F238E27FC236}">
                <a16:creationId xmlns:a16="http://schemas.microsoft.com/office/drawing/2014/main" id="{EDBC44DA-61B3-D278-3453-99E7D0F516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246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9" name="Kép 1708">
            <a:extLst>
              <a:ext uri="{FF2B5EF4-FFF2-40B4-BE49-F238E27FC236}">
                <a16:creationId xmlns:a16="http://schemas.microsoft.com/office/drawing/2014/main" id="{351AF59E-49EE-484E-7D8A-633F55EB92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0" name="Kép 1709">
            <a:extLst>
              <a:ext uri="{FF2B5EF4-FFF2-40B4-BE49-F238E27FC236}">
                <a16:creationId xmlns:a16="http://schemas.microsoft.com/office/drawing/2014/main" id="{4A658916-9B1A-FA69-CB33-D3AD562E30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85" y="57663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1" name="Kép 1710">
            <a:extLst>
              <a:ext uri="{FF2B5EF4-FFF2-40B4-BE49-F238E27FC236}">
                <a16:creationId xmlns:a16="http://schemas.microsoft.com/office/drawing/2014/main" id="{6D99E628-A319-A79E-6F52-75A254446B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57663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2" name="Kép 1711">
            <a:extLst>
              <a:ext uri="{FF2B5EF4-FFF2-40B4-BE49-F238E27FC236}">
                <a16:creationId xmlns:a16="http://schemas.microsoft.com/office/drawing/2014/main" id="{03CC3A35-418A-C0B6-98D5-C9BEED7343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3" name="Kép 1712">
            <a:extLst>
              <a:ext uri="{FF2B5EF4-FFF2-40B4-BE49-F238E27FC236}">
                <a16:creationId xmlns:a16="http://schemas.microsoft.com/office/drawing/2014/main" id="{18088F36-7CEF-79AF-BF45-E206B460F9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734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4" name="Kép 1713">
            <a:extLst>
              <a:ext uri="{FF2B5EF4-FFF2-40B4-BE49-F238E27FC236}">
                <a16:creationId xmlns:a16="http://schemas.microsoft.com/office/drawing/2014/main" id="{D6A8376D-26C3-7D57-C90C-F6EA1A4513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91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5" name="Kép 1714">
            <a:extLst>
              <a:ext uri="{FF2B5EF4-FFF2-40B4-BE49-F238E27FC236}">
                <a16:creationId xmlns:a16="http://schemas.microsoft.com/office/drawing/2014/main" id="{A459354A-D487-5EE2-2E4F-512CA69991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431" y="61749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6" name="Kép 1715">
            <a:extLst>
              <a:ext uri="{FF2B5EF4-FFF2-40B4-BE49-F238E27FC236}">
                <a16:creationId xmlns:a16="http://schemas.microsoft.com/office/drawing/2014/main" id="{F565DF58-FDA1-EC75-B72E-E27EC4DE2E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84" y="61749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7" name="Kép 1716">
            <a:extLst>
              <a:ext uri="{FF2B5EF4-FFF2-40B4-BE49-F238E27FC236}">
                <a16:creationId xmlns:a16="http://schemas.microsoft.com/office/drawing/2014/main" id="{7A7DA990-375A-4DF6-D44D-94A7A01CA8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707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8" name="Kép 1717">
            <a:extLst>
              <a:ext uri="{FF2B5EF4-FFF2-40B4-BE49-F238E27FC236}">
                <a16:creationId xmlns:a16="http://schemas.microsoft.com/office/drawing/2014/main" id="{F7237E50-4819-B45F-DEEE-3F0BD389AE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165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9" name="Kép 1718">
            <a:extLst>
              <a:ext uri="{FF2B5EF4-FFF2-40B4-BE49-F238E27FC236}">
                <a16:creationId xmlns:a16="http://schemas.microsoft.com/office/drawing/2014/main" id="{997E9D11-9D02-0336-3980-0C27A16133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8622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0" name="Kép 1719">
            <a:extLst>
              <a:ext uri="{FF2B5EF4-FFF2-40B4-BE49-F238E27FC236}">
                <a16:creationId xmlns:a16="http://schemas.microsoft.com/office/drawing/2014/main" id="{1896AFF5-3793-7882-DC45-D7405065D5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6960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1" name="Kép 1720">
            <a:extLst>
              <a:ext uri="{FF2B5EF4-FFF2-40B4-BE49-F238E27FC236}">
                <a16:creationId xmlns:a16="http://schemas.microsoft.com/office/drawing/2014/main" id="{85DE9DB2-3C70-1273-7177-B5C284617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408" y="53690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2" name="Kép 1721">
            <a:extLst>
              <a:ext uri="{FF2B5EF4-FFF2-40B4-BE49-F238E27FC236}">
                <a16:creationId xmlns:a16="http://schemas.microsoft.com/office/drawing/2014/main" id="{F118FFE6-AF8E-4479-1AC4-364167948F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7811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3" name="Kép 1722">
            <a:extLst>
              <a:ext uri="{FF2B5EF4-FFF2-40B4-BE49-F238E27FC236}">
                <a16:creationId xmlns:a16="http://schemas.microsoft.com/office/drawing/2014/main" id="{FE4E9E9D-E032-9666-6395-A2DBB0771B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57811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4" name="Kép 1723">
            <a:extLst>
              <a:ext uri="{FF2B5EF4-FFF2-40B4-BE49-F238E27FC236}">
                <a16:creationId xmlns:a16="http://schemas.microsoft.com/office/drawing/2014/main" id="{04EC2CA4-5515-4BE9-6938-6BA7944C36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619105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5" name="Kép 1724">
            <a:extLst>
              <a:ext uri="{FF2B5EF4-FFF2-40B4-BE49-F238E27FC236}">
                <a16:creationId xmlns:a16="http://schemas.microsoft.com/office/drawing/2014/main" id="{2EC37F6E-0792-0779-51B5-9864705176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47" y="619105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6" name="Kép 1725" descr="A képen szöveg látható&#10;&#10;Automatikusan generált leírás">
            <a:extLst>
              <a:ext uri="{FF2B5EF4-FFF2-40B4-BE49-F238E27FC236}">
                <a16:creationId xmlns:a16="http://schemas.microsoft.com/office/drawing/2014/main" id="{374F75D1-858F-3F33-8D15-06FF61D701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682" y="53700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7" name="Kép 1726">
            <a:extLst>
              <a:ext uri="{FF2B5EF4-FFF2-40B4-BE49-F238E27FC236}">
                <a16:creationId xmlns:a16="http://schemas.microsoft.com/office/drawing/2014/main" id="{05BF841D-5E04-0CBD-93F6-43A30EC965F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3700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8" name="Kép 1727">
            <a:extLst>
              <a:ext uri="{FF2B5EF4-FFF2-40B4-BE49-F238E27FC236}">
                <a16:creationId xmlns:a16="http://schemas.microsoft.com/office/drawing/2014/main" id="{6450CB5D-4348-8DB6-6558-283F2837B9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9" name="Kép 1728" descr="A képen szöveg látható&#10;&#10;Automatikusan generált leírás">
            <a:extLst>
              <a:ext uri="{FF2B5EF4-FFF2-40B4-BE49-F238E27FC236}">
                <a16:creationId xmlns:a16="http://schemas.microsoft.com/office/drawing/2014/main" id="{B20EC1B6-1533-BA41-95A5-3001BC24BD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053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0" name="Kép 1729">
            <a:extLst>
              <a:ext uri="{FF2B5EF4-FFF2-40B4-BE49-F238E27FC236}">
                <a16:creationId xmlns:a16="http://schemas.microsoft.com/office/drawing/2014/main" id="{E54A6E52-6EF7-1E9F-D4EE-8F331FF253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807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1" name="Kép 1730">
            <a:extLst>
              <a:ext uri="{FF2B5EF4-FFF2-40B4-BE49-F238E27FC236}">
                <a16:creationId xmlns:a16="http://schemas.microsoft.com/office/drawing/2014/main" id="{1D342450-EC6A-44D0-D24F-F547479BFD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521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2" name="Kép 1731">
            <a:extLst>
              <a:ext uri="{FF2B5EF4-FFF2-40B4-BE49-F238E27FC236}">
                <a16:creationId xmlns:a16="http://schemas.microsoft.com/office/drawing/2014/main" id="{B5130C8C-816C-5706-A35E-1D9432B34B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3" name="Kép 1732">
            <a:extLst>
              <a:ext uri="{FF2B5EF4-FFF2-40B4-BE49-F238E27FC236}">
                <a16:creationId xmlns:a16="http://schemas.microsoft.com/office/drawing/2014/main" id="{E06351EF-C556-9CCA-E26E-D5CA3DF8C1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4" name="Kép 1733">
            <a:extLst>
              <a:ext uri="{FF2B5EF4-FFF2-40B4-BE49-F238E27FC236}">
                <a16:creationId xmlns:a16="http://schemas.microsoft.com/office/drawing/2014/main" id="{12D8E83D-4B30-BC5D-0D13-B4434E678D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170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5" name="Kép 1734">
            <a:extLst>
              <a:ext uri="{FF2B5EF4-FFF2-40B4-BE49-F238E27FC236}">
                <a16:creationId xmlns:a16="http://schemas.microsoft.com/office/drawing/2014/main" id="{79894955-BF60-018C-B56D-1D35199601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627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6" name="Kép 1735">
            <a:extLst>
              <a:ext uri="{FF2B5EF4-FFF2-40B4-BE49-F238E27FC236}">
                <a16:creationId xmlns:a16="http://schemas.microsoft.com/office/drawing/2014/main" id="{4423B618-A3CD-E1F7-DE61-DA7A87E301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7" name="Kép 1736">
            <a:extLst>
              <a:ext uri="{FF2B5EF4-FFF2-40B4-BE49-F238E27FC236}">
                <a16:creationId xmlns:a16="http://schemas.microsoft.com/office/drawing/2014/main" id="{E328AE67-A57D-4A58-02E6-D457A13D3F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8" name="Kép 1737">
            <a:extLst>
              <a:ext uri="{FF2B5EF4-FFF2-40B4-BE49-F238E27FC236}">
                <a16:creationId xmlns:a16="http://schemas.microsoft.com/office/drawing/2014/main" id="{3BA3B81D-1386-E44A-2F4F-F7A8D7361F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9" name="Kép 1738">
            <a:extLst>
              <a:ext uri="{FF2B5EF4-FFF2-40B4-BE49-F238E27FC236}">
                <a16:creationId xmlns:a16="http://schemas.microsoft.com/office/drawing/2014/main" id="{64F1A142-ADF8-8DDF-8202-78B23FB0FE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904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0" name="Kép 1739">
            <a:extLst>
              <a:ext uri="{FF2B5EF4-FFF2-40B4-BE49-F238E27FC236}">
                <a16:creationId xmlns:a16="http://schemas.microsoft.com/office/drawing/2014/main" id="{04B517A6-4FB2-C729-B39C-7CF701B3D5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1" name="Kép 1740">
            <a:extLst>
              <a:ext uri="{FF2B5EF4-FFF2-40B4-BE49-F238E27FC236}">
                <a16:creationId xmlns:a16="http://schemas.microsoft.com/office/drawing/2014/main" id="{FEA1CD2F-B4D6-76A4-6EE4-9C689599FE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2" name="Kép 1741">
            <a:extLst>
              <a:ext uri="{FF2B5EF4-FFF2-40B4-BE49-F238E27FC236}">
                <a16:creationId xmlns:a16="http://schemas.microsoft.com/office/drawing/2014/main" id="{D87DDE4A-7807-3770-9A03-2E3909869C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626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3" name="Kép 1742">
            <a:extLst>
              <a:ext uri="{FF2B5EF4-FFF2-40B4-BE49-F238E27FC236}">
                <a16:creationId xmlns:a16="http://schemas.microsoft.com/office/drawing/2014/main" id="{7126A0C5-1CBE-FC4A-F11F-3DE552AA6B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817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4" name="Kép 1743" descr="A képen szöveg látható&#10;&#10;Automatikusan generált leírás">
            <a:extLst>
              <a:ext uri="{FF2B5EF4-FFF2-40B4-BE49-F238E27FC236}">
                <a16:creationId xmlns:a16="http://schemas.microsoft.com/office/drawing/2014/main" id="{09CCC441-0E76-DD8B-4CBA-55E5E6FE0F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110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5" name="Kép 1744">
            <a:extLst>
              <a:ext uri="{FF2B5EF4-FFF2-40B4-BE49-F238E27FC236}">
                <a16:creationId xmlns:a16="http://schemas.microsoft.com/office/drawing/2014/main" id="{CE03CD28-E571-57E7-D1A7-ADA6131AC9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6" name="Kép 1745" descr="A képen szöveg látható&#10;&#10;Automatikusan generált leírás">
            <a:extLst>
              <a:ext uri="{FF2B5EF4-FFF2-40B4-BE49-F238E27FC236}">
                <a16:creationId xmlns:a16="http://schemas.microsoft.com/office/drawing/2014/main" id="{02B995F3-547D-5C65-6DB6-D03F0450B1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203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7" name="Kép 1746">
            <a:extLst>
              <a:ext uri="{FF2B5EF4-FFF2-40B4-BE49-F238E27FC236}">
                <a16:creationId xmlns:a16="http://schemas.microsoft.com/office/drawing/2014/main" id="{AAD8F0FB-161F-6AD6-6B66-A35D7B467D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957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8" name="Kép 1747">
            <a:extLst>
              <a:ext uri="{FF2B5EF4-FFF2-40B4-BE49-F238E27FC236}">
                <a16:creationId xmlns:a16="http://schemas.microsoft.com/office/drawing/2014/main" id="{E3204F16-6D81-D306-C558-F724A0442B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769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9" name="Kép 1748">
            <a:extLst>
              <a:ext uri="{FF2B5EF4-FFF2-40B4-BE49-F238E27FC236}">
                <a16:creationId xmlns:a16="http://schemas.microsoft.com/office/drawing/2014/main" id="{3884CD42-FA23-30B6-B497-EE2C204292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227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0" name="Kép 1749">
            <a:extLst>
              <a:ext uri="{FF2B5EF4-FFF2-40B4-BE49-F238E27FC236}">
                <a16:creationId xmlns:a16="http://schemas.microsoft.com/office/drawing/2014/main" id="{E1610DAF-B370-BD4A-4BD0-FF8C87ED84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84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1" name="Kép 1750">
            <a:extLst>
              <a:ext uri="{FF2B5EF4-FFF2-40B4-BE49-F238E27FC236}">
                <a16:creationId xmlns:a16="http://schemas.microsoft.com/office/drawing/2014/main" id="{50314883-304E-2F59-839C-5FC3DF7382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13" y="16593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2" name="Kép 1751">
            <a:extLst>
              <a:ext uri="{FF2B5EF4-FFF2-40B4-BE49-F238E27FC236}">
                <a16:creationId xmlns:a16="http://schemas.microsoft.com/office/drawing/2014/main" id="{A960D1DF-D05D-348B-2CBD-A7B64EF23E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0714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3" name="Kép 1752">
            <a:extLst>
              <a:ext uri="{FF2B5EF4-FFF2-40B4-BE49-F238E27FC236}">
                <a16:creationId xmlns:a16="http://schemas.microsoft.com/office/drawing/2014/main" id="{DE46FCBB-0863-875C-087F-54A53D4B97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0714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4" name="Kép 1753">
            <a:extLst>
              <a:ext uri="{FF2B5EF4-FFF2-40B4-BE49-F238E27FC236}">
                <a16:creationId xmlns:a16="http://schemas.microsoft.com/office/drawing/2014/main" id="{8337B6E1-D467-2DB5-813E-4C925DABB2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48134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5" name="Kép 1754" descr="A képen szöveg látható&#10;&#10;Automatikusan generált leírás">
            <a:extLst>
              <a:ext uri="{FF2B5EF4-FFF2-40B4-BE49-F238E27FC236}">
                <a16:creationId xmlns:a16="http://schemas.microsoft.com/office/drawing/2014/main" id="{FE872C2B-F09C-6CC4-5E42-9454F6EB0F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887" y="16603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6" name="Kép 1755">
            <a:extLst>
              <a:ext uri="{FF2B5EF4-FFF2-40B4-BE49-F238E27FC236}">
                <a16:creationId xmlns:a16="http://schemas.microsoft.com/office/drawing/2014/main" id="{827BE176-2B11-78DC-568F-BC4B6ED7DA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16603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7" name="Kép 1756">
            <a:extLst>
              <a:ext uri="{FF2B5EF4-FFF2-40B4-BE49-F238E27FC236}">
                <a16:creationId xmlns:a16="http://schemas.microsoft.com/office/drawing/2014/main" id="{D1B222D8-589B-4957-781E-D17A73EA5C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8" name="Kép 1757">
            <a:extLst>
              <a:ext uri="{FF2B5EF4-FFF2-40B4-BE49-F238E27FC236}">
                <a16:creationId xmlns:a16="http://schemas.microsoft.com/office/drawing/2014/main" id="{942C2913-448F-8F95-C5F3-AA4F404AAB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9" name="Kép 1758">
            <a:extLst>
              <a:ext uri="{FF2B5EF4-FFF2-40B4-BE49-F238E27FC236}">
                <a16:creationId xmlns:a16="http://schemas.microsoft.com/office/drawing/2014/main" id="{A39B2579-C158-CC39-CDBE-00B2C6CF338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774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0" name="Kép 1759">
            <a:extLst>
              <a:ext uri="{FF2B5EF4-FFF2-40B4-BE49-F238E27FC236}">
                <a16:creationId xmlns:a16="http://schemas.microsoft.com/office/drawing/2014/main" id="{5CD16761-F6AE-CEC9-7455-5A1000740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1" name="Kép 1760">
            <a:extLst>
              <a:ext uri="{FF2B5EF4-FFF2-40B4-BE49-F238E27FC236}">
                <a16:creationId xmlns:a16="http://schemas.microsoft.com/office/drawing/2014/main" id="{3579F0ED-A652-EB38-A497-67B04CFD6B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33020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2" name="Kép 1761">
            <a:extLst>
              <a:ext uri="{FF2B5EF4-FFF2-40B4-BE49-F238E27FC236}">
                <a16:creationId xmlns:a16="http://schemas.microsoft.com/office/drawing/2014/main" id="{5540D245-A581-5CD0-EFE9-7A92FE3BDB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" y="33020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3" name="Kép 1762" descr="A képen szöveg látható&#10;&#10;Automatikusan generált leírás">
            <a:extLst>
              <a:ext uri="{FF2B5EF4-FFF2-40B4-BE49-F238E27FC236}">
                <a16:creationId xmlns:a16="http://schemas.microsoft.com/office/drawing/2014/main" id="{2B7A4AD1-A296-66C3-4337-4FCB103D9E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258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4" name="Kép 1763">
            <a:extLst>
              <a:ext uri="{FF2B5EF4-FFF2-40B4-BE49-F238E27FC236}">
                <a16:creationId xmlns:a16="http://schemas.microsoft.com/office/drawing/2014/main" id="{C181CAA3-CF90-D0D1-894D-1F1D3051DB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5" name="Kép 1764">
            <a:extLst>
              <a:ext uri="{FF2B5EF4-FFF2-40B4-BE49-F238E27FC236}">
                <a16:creationId xmlns:a16="http://schemas.microsoft.com/office/drawing/2014/main" id="{B75F6DA1-47AA-4194-EFE9-94A06825CFE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726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6" name="Kép 1765">
            <a:extLst>
              <a:ext uri="{FF2B5EF4-FFF2-40B4-BE49-F238E27FC236}">
                <a16:creationId xmlns:a16="http://schemas.microsoft.com/office/drawing/2014/main" id="{DC3BCFB1-4CE5-86D0-152D-26E676D1D2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7" name="Kép 1766">
            <a:extLst>
              <a:ext uri="{FF2B5EF4-FFF2-40B4-BE49-F238E27FC236}">
                <a16:creationId xmlns:a16="http://schemas.microsoft.com/office/drawing/2014/main" id="{1CAB41DA-2B6B-8A9E-DD87-51BD236688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8" name="Kép 1767">
            <a:extLst>
              <a:ext uri="{FF2B5EF4-FFF2-40B4-BE49-F238E27FC236}">
                <a16:creationId xmlns:a16="http://schemas.microsoft.com/office/drawing/2014/main" id="{3B0EEFDD-69D4-9948-2FCA-D17D3942F8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375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9" name="Kép 1768">
            <a:extLst>
              <a:ext uri="{FF2B5EF4-FFF2-40B4-BE49-F238E27FC236}">
                <a16:creationId xmlns:a16="http://schemas.microsoft.com/office/drawing/2014/main" id="{03AF882F-FE69-E65B-E745-36DB0D8B00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832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0" name="Kép 1769">
            <a:extLst>
              <a:ext uri="{FF2B5EF4-FFF2-40B4-BE49-F238E27FC236}">
                <a16:creationId xmlns:a16="http://schemas.microsoft.com/office/drawing/2014/main" id="{BC2840B0-EB7C-285A-9E0A-3E7BD8EF7F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1" name="Kép 1770">
            <a:extLst>
              <a:ext uri="{FF2B5EF4-FFF2-40B4-BE49-F238E27FC236}">
                <a16:creationId xmlns:a16="http://schemas.microsoft.com/office/drawing/2014/main" id="{7C162C22-770E-7752-5002-5B85435F46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2" name="Kép 1771">
            <a:extLst>
              <a:ext uri="{FF2B5EF4-FFF2-40B4-BE49-F238E27FC236}">
                <a16:creationId xmlns:a16="http://schemas.microsoft.com/office/drawing/2014/main" id="{AD371BB5-432B-C055-7FF6-EB45EB223A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3" name="Kép 1772">
            <a:extLst>
              <a:ext uri="{FF2B5EF4-FFF2-40B4-BE49-F238E27FC236}">
                <a16:creationId xmlns:a16="http://schemas.microsoft.com/office/drawing/2014/main" id="{7D55F465-1958-14D9-DC12-A3EE4B555D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109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4" name="Kép 1773">
            <a:extLst>
              <a:ext uri="{FF2B5EF4-FFF2-40B4-BE49-F238E27FC236}">
                <a16:creationId xmlns:a16="http://schemas.microsoft.com/office/drawing/2014/main" id="{7BD215D0-27CF-A5AB-C1CD-5BAE27F262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5" name="Kép 1774">
            <a:extLst>
              <a:ext uri="{FF2B5EF4-FFF2-40B4-BE49-F238E27FC236}">
                <a16:creationId xmlns:a16="http://schemas.microsoft.com/office/drawing/2014/main" id="{9757D2FF-8492-0D59-0DF4-4FE2448420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6" name="Kép 1775">
            <a:extLst>
              <a:ext uri="{FF2B5EF4-FFF2-40B4-BE49-F238E27FC236}">
                <a16:creationId xmlns:a16="http://schemas.microsoft.com/office/drawing/2014/main" id="{D91CB30D-48B1-39F8-2CFA-780EFB5869C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831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7" name="Kép 1776">
            <a:extLst>
              <a:ext uri="{FF2B5EF4-FFF2-40B4-BE49-F238E27FC236}">
                <a16:creationId xmlns:a16="http://schemas.microsoft.com/office/drawing/2014/main" id="{5EB6E3D0-1018-5247-40C8-F6DE240887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8" name="Kép 1777">
            <a:extLst>
              <a:ext uri="{FF2B5EF4-FFF2-40B4-BE49-F238E27FC236}">
                <a16:creationId xmlns:a16="http://schemas.microsoft.com/office/drawing/2014/main" id="{9A0CCC5F-6DEC-4EAC-3F4F-EA3D4FDAC5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9" name="Kép 1778">
            <a:extLst>
              <a:ext uri="{FF2B5EF4-FFF2-40B4-BE49-F238E27FC236}">
                <a16:creationId xmlns:a16="http://schemas.microsoft.com/office/drawing/2014/main" id="{BA505699-F56B-E3DE-6833-A6E749EC40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480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0" name="Kép 1779" descr="A képen szöveg látható&#10;&#10;Automatikusan generált leírás">
            <a:extLst>
              <a:ext uri="{FF2B5EF4-FFF2-40B4-BE49-F238E27FC236}">
                <a16:creationId xmlns:a16="http://schemas.microsoft.com/office/drawing/2014/main" id="{08BD4511-C707-206E-508D-C706F2984A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315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1" name="Kép 1780">
            <a:extLst>
              <a:ext uri="{FF2B5EF4-FFF2-40B4-BE49-F238E27FC236}">
                <a16:creationId xmlns:a16="http://schemas.microsoft.com/office/drawing/2014/main" id="{0E04B659-9F56-A4CA-AE81-076AD7228D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2" name="Kép 1781">
            <a:extLst>
              <a:ext uri="{FF2B5EF4-FFF2-40B4-BE49-F238E27FC236}">
                <a16:creationId xmlns:a16="http://schemas.microsoft.com/office/drawing/2014/main" id="{C92F7289-48A5-ED64-76DA-036667C992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937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3" name="Kép 1782">
            <a:extLst>
              <a:ext uri="{FF2B5EF4-FFF2-40B4-BE49-F238E27FC236}">
                <a16:creationId xmlns:a16="http://schemas.microsoft.com/office/drawing/2014/main" id="{0E995D7E-34B0-6F30-CE8C-908010CC9A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892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4" name="Kép 1783">
            <a:extLst>
              <a:ext uri="{FF2B5EF4-FFF2-40B4-BE49-F238E27FC236}">
                <a16:creationId xmlns:a16="http://schemas.microsoft.com/office/drawing/2014/main" id="{4F3722A1-61E0-9BF7-9630-825F1FFE15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115" y="2892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5" name="Kép 1784" descr="A képen szöveg látható&#10;&#10;Automatikusan generált leírás">
            <a:extLst>
              <a:ext uri="{FF2B5EF4-FFF2-40B4-BE49-F238E27FC236}">
                <a16:creationId xmlns:a16="http://schemas.microsoft.com/office/drawing/2014/main" id="{3B6D76F0-2886-D727-565B-4A26A2DEDDC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408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6" name="Kép 1785">
            <a:extLst>
              <a:ext uri="{FF2B5EF4-FFF2-40B4-BE49-F238E27FC236}">
                <a16:creationId xmlns:a16="http://schemas.microsoft.com/office/drawing/2014/main" id="{16886E4E-4D1E-4A3B-FF9A-795A4CE9E3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7" name="Kép 1786">
            <a:extLst>
              <a:ext uri="{FF2B5EF4-FFF2-40B4-BE49-F238E27FC236}">
                <a16:creationId xmlns:a16="http://schemas.microsoft.com/office/drawing/2014/main" id="{18A54744-6F24-2CC4-5FC4-908D5E1672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974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8" name="Kép 1787">
            <a:extLst>
              <a:ext uri="{FF2B5EF4-FFF2-40B4-BE49-F238E27FC236}">
                <a16:creationId xmlns:a16="http://schemas.microsoft.com/office/drawing/2014/main" id="{85872720-37C0-76FC-5C6E-D8284CC8B6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432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9" name="Kép 1788">
            <a:extLst>
              <a:ext uri="{FF2B5EF4-FFF2-40B4-BE49-F238E27FC236}">
                <a16:creationId xmlns:a16="http://schemas.microsoft.com/office/drawing/2014/main" id="{4D767105-3A2C-02EF-173F-835A600D9F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889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0" name="Kép 1789">
            <a:extLst>
              <a:ext uri="{FF2B5EF4-FFF2-40B4-BE49-F238E27FC236}">
                <a16:creationId xmlns:a16="http://schemas.microsoft.com/office/drawing/2014/main" id="{0AF6C91F-A965-8115-924B-A2C6FFBC21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71251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1" name="Kép 1790">
            <a:extLst>
              <a:ext uri="{FF2B5EF4-FFF2-40B4-BE49-F238E27FC236}">
                <a16:creationId xmlns:a16="http://schemas.microsoft.com/office/drawing/2014/main" id="{2622D1B3-7F64-4AEE-6814-E38E1975FE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371251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2" name="Kép 1791">
            <a:extLst>
              <a:ext uri="{FF2B5EF4-FFF2-40B4-BE49-F238E27FC236}">
                <a16:creationId xmlns:a16="http://schemas.microsoft.com/office/drawing/2014/main" id="{2A1F7373-4085-702D-0959-A510C4563E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41223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3" name="Kép 1792">
            <a:extLst>
              <a:ext uri="{FF2B5EF4-FFF2-40B4-BE49-F238E27FC236}">
                <a16:creationId xmlns:a16="http://schemas.microsoft.com/office/drawing/2014/main" id="{DCC142D6-0C14-3B79-6456-61817E48C2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89" y="41223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4" name="Kép 1793" descr="A képen szöveg látható&#10;&#10;Automatikusan generált leírás">
            <a:extLst>
              <a:ext uri="{FF2B5EF4-FFF2-40B4-BE49-F238E27FC236}">
                <a16:creationId xmlns:a16="http://schemas.microsoft.com/office/drawing/2014/main" id="{5596741C-AE94-D81C-E600-28D8963FFE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624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5" name="Kép 1794">
            <a:extLst>
              <a:ext uri="{FF2B5EF4-FFF2-40B4-BE49-F238E27FC236}">
                <a16:creationId xmlns:a16="http://schemas.microsoft.com/office/drawing/2014/main" id="{4905AA3E-6C25-ACEE-9EA1-98F70270F6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6" name="Kép 1795">
            <a:extLst>
              <a:ext uri="{FF2B5EF4-FFF2-40B4-BE49-F238E27FC236}">
                <a16:creationId xmlns:a16="http://schemas.microsoft.com/office/drawing/2014/main" id="{3688CAE9-7458-50AF-5AE3-CC6B9B8CE8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7" name="Kép 1796">
            <a:extLst>
              <a:ext uri="{FF2B5EF4-FFF2-40B4-BE49-F238E27FC236}">
                <a16:creationId xmlns:a16="http://schemas.microsoft.com/office/drawing/2014/main" id="{34330DDD-05A8-A3F4-07E9-45A342CB31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8" name="Kép 1797">
            <a:extLst>
              <a:ext uri="{FF2B5EF4-FFF2-40B4-BE49-F238E27FC236}">
                <a16:creationId xmlns:a16="http://schemas.microsoft.com/office/drawing/2014/main" id="{493330E2-B8D6-61C0-9C54-C8AD7380706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511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9" name="Kép 1798">
            <a:extLst>
              <a:ext uri="{FF2B5EF4-FFF2-40B4-BE49-F238E27FC236}">
                <a16:creationId xmlns:a16="http://schemas.microsoft.com/office/drawing/2014/main" id="{521246F5-8A79-F3FF-0A8F-B79042228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0" name="Kép 1799">
            <a:extLst>
              <a:ext uri="{FF2B5EF4-FFF2-40B4-BE49-F238E27FC236}">
                <a16:creationId xmlns:a16="http://schemas.microsoft.com/office/drawing/2014/main" id="{DB6E31A0-D584-018B-4210-25DC20B60A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1" name="Kép 1800">
            <a:extLst>
              <a:ext uri="{FF2B5EF4-FFF2-40B4-BE49-F238E27FC236}">
                <a16:creationId xmlns:a16="http://schemas.microsoft.com/office/drawing/2014/main" id="{6E0DD57A-18DC-FA80-F1F5-22F08B3199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160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2" name="Kép 1801" descr="A képen szöveg látható&#10;&#10;Automatikusan generált leírás">
            <a:extLst>
              <a:ext uri="{FF2B5EF4-FFF2-40B4-BE49-F238E27FC236}">
                <a16:creationId xmlns:a16="http://schemas.microsoft.com/office/drawing/2014/main" id="{9C1C50BD-82CA-A4AC-A641-FDD2DF7156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995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3" name="Kép 1802">
            <a:extLst>
              <a:ext uri="{FF2B5EF4-FFF2-40B4-BE49-F238E27FC236}">
                <a16:creationId xmlns:a16="http://schemas.microsoft.com/office/drawing/2014/main" id="{0114933E-4D56-3DBC-746E-FCC67825983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4" name="Kép 1803">
            <a:extLst>
              <a:ext uri="{FF2B5EF4-FFF2-40B4-BE49-F238E27FC236}">
                <a16:creationId xmlns:a16="http://schemas.microsoft.com/office/drawing/2014/main" id="{B37ED4D9-BB58-AA6D-3008-B45FE2B4B2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17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5" name="Kép 1804" descr="A képen szöveg látható&#10;&#10;Automatikusan generált leírás">
            <a:extLst>
              <a:ext uri="{FF2B5EF4-FFF2-40B4-BE49-F238E27FC236}">
                <a16:creationId xmlns:a16="http://schemas.microsoft.com/office/drawing/2014/main" id="{3E53444B-278F-11D2-BB4E-E9D03186C8D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88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6" name="Kép 1805">
            <a:extLst>
              <a:ext uri="{FF2B5EF4-FFF2-40B4-BE49-F238E27FC236}">
                <a16:creationId xmlns:a16="http://schemas.microsoft.com/office/drawing/2014/main" id="{824CEB6B-E874-4A6D-8D5B-80EA40BCF1D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463" y="330170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7" name="Kép 1806">
            <a:extLst>
              <a:ext uri="{FF2B5EF4-FFF2-40B4-BE49-F238E27FC236}">
                <a16:creationId xmlns:a16="http://schemas.microsoft.com/office/drawing/2014/main" id="{D45DD281-C506-BF06-66DF-267795E1C8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30170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8" name="Kép 1807">
            <a:extLst>
              <a:ext uri="{FF2B5EF4-FFF2-40B4-BE49-F238E27FC236}">
                <a16:creationId xmlns:a16="http://schemas.microsoft.com/office/drawing/2014/main" id="{65EC1A5D-0551-8EA7-2C22-4061CB201B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9" name="Kép 1808">
            <a:extLst>
              <a:ext uri="{FF2B5EF4-FFF2-40B4-BE49-F238E27FC236}">
                <a16:creationId xmlns:a16="http://schemas.microsoft.com/office/drawing/2014/main" id="{88898E1E-FBAA-9C75-D6A3-D985AB06D0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112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0" name="Kép 1809">
            <a:extLst>
              <a:ext uri="{FF2B5EF4-FFF2-40B4-BE49-F238E27FC236}">
                <a16:creationId xmlns:a16="http://schemas.microsoft.com/office/drawing/2014/main" id="{61BE49B8-8944-1748-A5BB-9370F2FD5E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569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1" name="Kép 1810">
            <a:extLst>
              <a:ext uri="{FF2B5EF4-FFF2-40B4-BE49-F238E27FC236}">
                <a16:creationId xmlns:a16="http://schemas.microsoft.com/office/drawing/2014/main" id="{FCC3AE7A-FBD5-C1E4-FFCF-1E15288134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85" y="37094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2" name="Kép 1811">
            <a:extLst>
              <a:ext uri="{FF2B5EF4-FFF2-40B4-BE49-F238E27FC236}">
                <a16:creationId xmlns:a16="http://schemas.microsoft.com/office/drawing/2014/main" id="{FF10DEC4-63F4-EE6B-A145-C6A2B60608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338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3" name="Kép 1812" descr="A képen szöveg látható&#10;&#10;Automatikusan generált leírás">
            <a:extLst>
              <a:ext uri="{FF2B5EF4-FFF2-40B4-BE49-F238E27FC236}">
                <a16:creationId xmlns:a16="http://schemas.microsoft.com/office/drawing/2014/main" id="{50B4A8CC-CFD5-36B2-F664-A22D64BD35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85" y="57769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4" name="Kép 1813">
            <a:extLst>
              <a:ext uri="{FF2B5EF4-FFF2-40B4-BE49-F238E27FC236}">
                <a16:creationId xmlns:a16="http://schemas.microsoft.com/office/drawing/2014/main" id="{3A7CDBDE-FEC5-DAA5-B162-74A3635BF3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744" y="53664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5" name="Kép 1814">
            <a:extLst>
              <a:ext uri="{FF2B5EF4-FFF2-40B4-BE49-F238E27FC236}">
                <a16:creationId xmlns:a16="http://schemas.microsoft.com/office/drawing/2014/main" id="{C374A52F-EFC5-68FC-8678-80C670463CC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02" y="53664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6" name="Kép 1815">
            <a:extLst>
              <a:ext uri="{FF2B5EF4-FFF2-40B4-BE49-F238E27FC236}">
                <a16:creationId xmlns:a16="http://schemas.microsoft.com/office/drawing/2014/main" id="{FD52C916-D515-D6F4-8AB5-4824634408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94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7" name="Kép 1816">
            <a:extLst>
              <a:ext uri="{FF2B5EF4-FFF2-40B4-BE49-F238E27FC236}">
                <a16:creationId xmlns:a16="http://schemas.microsoft.com/office/drawing/2014/main" id="{D2EC41DB-093E-B0DB-4A20-F38038824D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94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8" name="Kép 1817">
            <a:extLst>
              <a:ext uri="{FF2B5EF4-FFF2-40B4-BE49-F238E27FC236}">
                <a16:creationId xmlns:a16="http://schemas.microsoft.com/office/drawing/2014/main" id="{74458E68-1937-5699-D56F-0533006119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4193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9" name="Kép 1818">
            <a:extLst>
              <a:ext uri="{FF2B5EF4-FFF2-40B4-BE49-F238E27FC236}">
                <a16:creationId xmlns:a16="http://schemas.microsoft.com/office/drawing/2014/main" id="{BBD2B161-C8B3-7B9E-D3CF-F54FB73852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923" y="4193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0" name="Kép 1819">
            <a:extLst>
              <a:ext uri="{FF2B5EF4-FFF2-40B4-BE49-F238E27FC236}">
                <a16:creationId xmlns:a16="http://schemas.microsoft.com/office/drawing/2014/main" id="{553F4007-108A-C683-94FC-57D75BD46A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1" name="Kép 1820">
            <a:extLst>
              <a:ext uri="{FF2B5EF4-FFF2-40B4-BE49-F238E27FC236}">
                <a16:creationId xmlns:a16="http://schemas.microsoft.com/office/drawing/2014/main" id="{6E9813BC-045B-88F4-8AB7-6FBFF9864F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2" name="Kép 1821">
            <a:extLst>
              <a:ext uri="{FF2B5EF4-FFF2-40B4-BE49-F238E27FC236}">
                <a16:creationId xmlns:a16="http://schemas.microsoft.com/office/drawing/2014/main" id="{8353D8CF-9406-67E5-9B62-DAD167E07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45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3" name="Kép 1822">
            <a:extLst>
              <a:ext uri="{FF2B5EF4-FFF2-40B4-BE49-F238E27FC236}">
                <a16:creationId xmlns:a16="http://schemas.microsoft.com/office/drawing/2014/main" id="{4E9B9802-1464-2F3A-0F91-77950F37FA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4" name="Kép 1823">
            <a:extLst>
              <a:ext uri="{FF2B5EF4-FFF2-40B4-BE49-F238E27FC236}">
                <a16:creationId xmlns:a16="http://schemas.microsoft.com/office/drawing/2014/main" id="{8629DB15-CBE1-AF62-BA74-43B219C4E7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5" name="Kép 1824">
            <a:extLst>
              <a:ext uri="{FF2B5EF4-FFF2-40B4-BE49-F238E27FC236}">
                <a16:creationId xmlns:a16="http://schemas.microsoft.com/office/drawing/2014/main" id="{1889456B-BB08-C539-7F00-B9A8ABFE00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294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6" name="Kép 1825" descr="A képen szöveg látható&#10;&#10;Automatikusan generált leírás">
            <a:extLst>
              <a:ext uri="{FF2B5EF4-FFF2-40B4-BE49-F238E27FC236}">
                <a16:creationId xmlns:a16="http://schemas.microsoft.com/office/drawing/2014/main" id="{48F7002F-0DD8-B1AE-8FCF-EAE97D54B5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7" name="Kép 1826">
            <a:extLst>
              <a:ext uri="{FF2B5EF4-FFF2-40B4-BE49-F238E27FC236}">
                <a16:creationId xmlns:a16="http://schemas.microsoft.com/office/drawing/2014/main" id="{0A551C0E-6609-9EB2-6E9B-B2FE450ECFD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8" name="Kép 1827">
            <a:extLst>
              <a:ext uri="{FF2B5EF4-FFF2-40B4-BE49-F238E27FC236}">
                <a16:creationId xmlns:a16="http://schemas.microsoft.com/office/drawing/2014/main" id="{C45F18D6-3929-363A-E382-FF13324D1A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751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9" name="Kép 1828">
            <a:extLst>
              <a:ext uri="{FF2B5EF4-FFF2-40B4-BE49-F238E27FC236}">
                <a16:creationId xmlns:a16="http://schemas.microsoft.com/office/drawing/2014/main" id="{B3BA3BE5-FAA8-9897-DB63-1C736ADF3A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12412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0" name="Kép 1829">
            <a:extLst>
              <a:ext uri="{FF2B5EF4-FFF2-40B4-BE49-F238E27FC236}">
                <a16:creationId xmlns:a16="http://schemas.microsoft.com/office/drawing/2014/main" id="{02318C7D-3A18-F5BF-7822-C179BE9EC8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929" y="12412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1" name="Kép 1830" descr="A képen szöveg látható&#10;&#10;Automatikusan generált leírás">
            <a:extLst>
              <a:ext uri="{FF2B5EF4-FFF2-40B4-BE49-F238E27FC236}">
                <a16:creationId xmlns:a16="http://schemas.microsoft.com/office/drawing/2014/main" id="{6E8A5F8D-0385-BE30-6A8E-314598D2C9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22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2" name="Kép 1831">
            <a:extLst>
              <a:ext uri="{FF2B5EF4-FFF2-40B4-BE49-F238E27FC236}">
                <a16:creationId xmlns:a16="http://schemas.microsoft.com/office/drawing/2014/main" id="{131CDF6C-8325-1FC7-3773-A6AC36A32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3" name="Kép 1832">
            <a:extLst>
              <a:ext uri="{FF2B5EF4-FFF2-40B4-BE49-F238E27FC236}">
                <a16:creationId xmlns:a16="http://schemas.microsoft.com/office/drawing/2014/main" id="{6AD68F7D-485A-0135-BF49-5DC4A12FA4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788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4" name="Kép 1833">
            <a:extLst>
              <a:ext uri="{FF2B5EF4-FFF2-40B4-BE49-F238E27FC236}">
                <a16:creationId xmlns:a16="http://schemas.microsoft.com/office/drawing/2014/main" id="{192F63DD-16E3-1C38-A682-362DCE4142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4246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5" name="Kép 1834">
            <a:extLst>
              <a:ext uri="{FF2B5EF4-FFF2-40B4-BE49-F238E27FC236}">
                <a16:creationId xmlns:a16="http://schemas.microsoft.com/office/drawing/2014/main" id="{EFD47274-D7F6-5F32-C570-114530463A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703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6" name="Kép 1835">
            <a:extLst>
              <a:ext uri="{FF2B5EF4-FFF2-40B4-BE49-F238E27FC236}">
                <a16:creationId xmlns:a16="http://schemas.microsoft.com/office/drawing/2014/main" id="{B3B6EDF2-B13A-7778-BF15-E114D0260B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73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7" name="Kép 1836">
            <a:extLst>
              <a:ext uri="{FF2B5EF4-FFF2-40B4-BE49-F238E27FC236}">
                <a16:creationId xmlns:a16="http://schemas.microsoft.com/office/drawing/2014/main" id="{DE44AD49-124D-5245-990A-864E32983A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73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8" name="Kép 1837">
            <a:extLst>
              <a:ext uri="{FF2B5EF4-FFF2-40B4-BE49-F238E27FC236}">
                <a16:creationId xmlns:a16="http://schemas.microsoft.com/office/drawing/2014/main" id="{33078914-093D-00E9-A099-CDBF2AEEFA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4171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9" name="Kép 1838">
            <a:extLst>
              <a:ext uri="{FF2B5EF4-FFF2-40B4-BE49-F238E27FC236}">
                <a16:creationId xmlns:a16="http://schemas.microsoft.com/office/drawing/2014/main" id="{AE149860-160E-B5F6-C62C-4DCCEB1AB1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354" y="4171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0" name="Kép 1839">
            <a:extLst>
              <a:ext uri="{FF2B5EF4-FFF2-40B4-BE49-F238E27FC236}">
                <a16:creationId xmlns:a16="http://schemas.microsoft.com/office/drawing/2014/main" id="{CF07093C-8C02-716C-CA52-7BDC20CD40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1" name="Kép 1840">
            <a:extLst>
              <a:ext uri="{FF2B5EF4-FFF2-40B4-BE49-F238E27FC236}">
                <a16:creationId xmlns:a16="http://schemas.microsoft.com/office/drawing/2014/main" id="{A6ABF909-487A-32F6-AF1F-4E253EF462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2" name="Kép 1841">
            <a:extLst>
              <a:ext uri="{FF2B5EF4-FFF2-40B4-BE49-F238E27FC236}">
                <a16:creationId xmlns:a16="http://schemas.microsoft.com/office/drawing/2014/main" id="{F996A97A-0867-2DE7-9605-0897036BB4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076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3" name="Kép 1842">
            <a:extLst>
              <a:ext uri="{FF2B5EF4-FFF2-40B4-BE49-F238E27FC236}">
                <a16:creationId xmlns:a16="http://schemas.microsoft.com/office/drawing/2014/main" id="{A2807DAA-6887-B71F-D5F5-D915C1AB28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4" name="Kép 1843">
            <a:extLst>
              <a:ext uri="{FF2B5EF4-FFF2-40B4-BE49-F238E27FC236}">
                <a16:creationId xmlns:a16="http://schemas.microsoft.com/office/drawing/2014/main" id="{DB783A88-8283-19BA-5990-4E95140856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5" name="Kép 1844">
            <a:extLst>
              <a:ext uri="{FF2B5EF4-FFF2-40B4-BE49-F238E27FC236}">
                <a16:creationId xmlns:a16="http://schemas.microsoft.com/office/drawing/2014/main" id="{BDF06C75-0C4F-91E5-1EEC-E8F62B9EEE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725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6" name="Kép 1845" descr="A képen szöveg látható&#10;&#10;Automatikusan generált leírás">
            <a:extLst>
              <a:ext uri="{FF2B5EF4-FFF2-40B4-BE49-F238E27FC236}">
                <a16:creationId xmlns:a16="http://schemas.microsoft.com/office/drawing/2014/main" id="{C3C4657B-1EF5-2E7D-D866-2FA40FFCFC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7" name="Kép 1846">
            <a:extLst>
              <a:ext uri="{FF2B5EF4-FFF2-40B4-BE49-F238E27FC236}">
                <a16:creationId xmlns:a16="http://schemas.microsoft.com/office/drawing/2014/main" id="{981C8612-00AE-0889-561D-E526C21ED7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8" name="Kép 1847">
            <a:extLst>
              <a:ext uri="{FF2B5EF4-FFF2-40B4-BE49-F238E27FC236}">
                <a16:creationId xmlns:a16="http://schemas.microsoft.com/office/drawing/2014/main" id="{E03B6EE2-21ED-5D9C-8FA4-19227C4371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182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9" name="Kép 1848">
            <a:extLst>
              <a:ext uri="{FF2B5EF4-FFF2-40B4-BE49-F238E27FC236}">
                <a16:creationId xmlns:a16="http://schemas.microsoft.com/office/drawing/2014/main" id="{8CB0BA63-DAF5-D15E-AA7C-324E2074B9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12391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0" name="Kép 1849">
            <a:extLst>
              <a:ext uri="{FF2B5EF4-FFF2-40B4-BE49-F238E27FC236}">
                <a16:creationId xmlns:a16="http://schemas.microsoft.com/office/drawing/2014/main" id="{97510DA8-4542-B487-AEAD-324F536DEA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360" y="12391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1" name="Kép 1850" descr="A képen szöveg látható&#10;&#10;Automatikusan generált leírás">
            <a:extLst>
              <a:ext uri="{FF2B5EF4-FFF2-40B4-BE49-F238E27FC236}">
                <a16:creationId xmlns:a16="http://schemas.microsoft.com/office/drawing/2014/main" id="{B853CE66-11E4-2600-2C3E-D51E5FDFA6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653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2" name="Kép 1851">
            <a:extLst>
              <a:ext uri="{FF2B5EF4-FFF2-40B4-BE49-F238E27FC236}">
                <a16:creationId xmlns:a16="http://schemas.microsoft.com/office/drawing/2014/main" id="{3D6797A5-984B-551A-F664-C42841551D5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3" name="Kép 1852">
            <a:extLst>
              <a:ext uri="{FF2B5EF4-FFF2-40B4-BE49-F238E27FC236}">
                <a16:creationId xmlns:a16="http://schemas.microsoft.com/office/drawing/2014/main" id="{B65A0846-6B29-7569-1DF7-F5CA38403F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19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4" name="Kép 1853">
            <a:extLst>
              <a:ext uri="{FF2B5EF4-FFF2-40B4-BE49-F238E27FC236}">
                <a16:creationId xmlns:a16="http://schemas.microsoft.com/office/drawing/2014/main" id="{FE439C7D-E193-852D-C62B-6FC404AAF1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677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5" name="Kép 1854">
            <a:extLst>
              <a:ext uri="{FF2B5EF4-FFF2-40B4-BE49-F238E27FC236}">
                <a16:creationId xmlns:a16="http://schemas.microsoft.com/office/drawing/2014/main" id="{3B81237B-47E6-6A64-690E-D988A8D29D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5134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6" name="Kép 1855">
            <a:extLst>
              <a:ext uri="{FF2B5EF4-FFF2-40B4-BE49-F238E27FC236}">
                <a16:creationId xmlns:a16="http://schemas.microsoft.com/office/drawing/2014/main" id="{DEC95F45-0820-EF8C-3B42-88A3DE1C77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5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7" name="Kép 1856">
            <a:extLst>
              <a:ext uri="{FF2B5EF4-FFF2-40B4-BE49-F238E27FC236}">
                <a16:creationId xmlns:a16="http://schemas.microsoft.com/office/drawing/2014/main" id="{61D9CB6C-F231-85D0-7C07-4255A51E95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5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8" name="Kép 1857">
            <a:extLst>
              <a:ext uri="{FF2B5EF4-FFF2-40B4-BE49-F238E27FC236}">
                <a16:creationId xmlns:a16="http://schemas.microsoft.com/office/drawing/2014/main" id="{3BC6E56E-012D-24EE-2D45-1758B6C030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415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9" name="Kép 1858">
            <a:extLst>
              <a:ext uri="{FF2B5EF4-FFF2-40B4-BE49-F238E27FC236}">
                <a16:creationId xmlns:a16="http://schemas.microsoft.com/office/drawing/2014/main" id="{D7E58876-3A74-81F4-252B-E17CFE97CB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796" y="415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0" name="Kép 1859">
            <a:extLst>
              <a:ext uri="{FF2B5EF4-FFF2-40B4-BE49-F238E27FC236}">
                <a16:creationId xmlns:a16="http://schemas.microsoft.com/office/drawing/2014/main" id="{A9ED5B21-FA24-008A-2D2F-922CC95F93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1" name="Kép 1860">
            <a:extLst>
              <a:ext uri="{FF2B5EF4-FFF2-40B4-BE49-F238E27FC236}">
                <a16:creationId xmlns:a16="http://schemas.microsoft.com/office/drawing/2014/main" id="{0D38F9E0-A9D6-04D4-1005-A64969FC74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2" name="Kép 1861">
            <a:extLst>
              <a:ext uri="{FF2B5EF4-FFF2-40B4-BE49-F238E27FC236}">
                <a16:creationId xmlns:a16="http://schemas.microsoft.com/office/drawing/2014/main" id="{179354E2-6FFC-1095-A6D8-DCF3C50ADBF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18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3" name="Kép 1862">
            <a:extLst>
              <a:ext uri="{FF2B5EF4-FFF2-40B4-BE49-F238E27FC236}">
                <a16:creationId xmlns:a16="http://schemas.microsoft.com/office/drawing/2014/main" id="{78302DF0-1214-1A32-F2C8-9B2491AF13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4" name="Kép 1863">
            <a:extLst>
              <a:ext uri="{FF2B5EF4-FFF2-40B4-BE49-F238E27FC236}">
                <a16:creationId xmlns:a16="http://schemas.microsoft.com/office/drawing/2014/main" id="{44D0C931-9A49-FD82-2926-7040AD208F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5" name="Kép 1864">
            <a:extLst>
              <a:ext uri="{FF2B5EF4-FFF2-40B4-BE49-F238E27FC236}">
                <a16:creationId xmlns:a16="http://schemas.microsoft.com/office/drawing/2014/main" id="{F5F76DC1-F04A-222E-00ED-2FEA3D749E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167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6" name="Kép 1865" descr="A képen szöveg látható&#10;&#10;Automatikusan generált leírás">
            <a:extLst>
              <a:ext uri="{FF2B5EF4-FFF2-40B4-BE49-F238E27FC236}">
                <a16:creationId xmlns:a16="http://schemas.microsoft.com/office/drawing/2014/main" id="{FB5A09CD-97AC-7927-FEC3-804F9C9A89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002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7" name="Kép 1866">
            <a:extLst>
              <a:ext uri="{FF2B5EF4-FFF2-40B4-BE49-F238E27FC236}">
                <a16:creationId xmlns:a16="http://schemas.microsoft.com/office/drawing/2014/main" id="{C1EAC158-B660-D99F-4291-A0650624BC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8" name="Kép 1867">
            <a:extLst>
              <a:ext uri="{FF2B5EF4-FFF2-40B4-BE49-F238E27FC236}">
                <a16:creationId xmlns:a16="http://schemas.microsoft.com/office/drawing/2014/main" id="{38559F43-AC80-D2DE-5DDD-2C7D9D23A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624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9" name="Kép 1868">
            <a:extLst>
              <a:ext uri="{FF2B5EF4-FFF2-40B4-BE49-F238E27FC236}">
                <a16:creationId xmlns:a16="http://schemas.microsoft.com/office/drawing/2014/main" id="{D77CBF64-0802-E453-118E-58D5B1795B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1237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0" name="Kép 1869">
            <a:extLst>
              <a:ext uri="{FF2B5EF4-FFF2-40B4-BE49-F238E27FC236}">
                <a16:creationId xmlns:a16="http://schemas.microsoft.com/office/drawing/2014/main" id="{FA5B4B52-3CDA-6A29-522B-FB6EFE87CA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02" y="1237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1" name="Kép 1870" descr="A képen szöveg látható&#10;&#10;Automatikusan generált leírás">
            <a:extLst>
              <a:ext uri="{FF2B5EF4-FFF2-40B4-BE49-F238E27FC236}">
                <a16:creationId xmlns:a16="http://schemas.microsoft.com/office/drawing/2014/main" id="{0D009D64-402F-E374-19CB-6BD3877EB2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095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2" name="Kép 1871">
            <a:extLst>
              <a:ext uri="{FF2B5EF4-FFF2-40B4-BE49-F238E27FC236}">
                <a16:creationId xmlns:a16="http://schemas.microsoft.com/office/drawing/2014/main" id="{F0E97715-633F-3FFB-8096-CB6521B2F9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3" name="Kép 1872">
            <a:extLst>
              <a:ext uri="{FF2B5EF4-FFF2-40B4-BE49-F238E27FC236}">
                <a16:creationId xmlns:a16="http://schemas.microsoft.com/office/drawing/2014/main" id="{BAB2A367-E13B-692A-8A9E-9FE99CCD3F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661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4" name="Kép 1873">
            <a:extLst>
              <a:ext uri="{FF2B5EF4-FFF2-40B4-BE49-F238E27FC236}">
                <a16:creationId xmlns:a16="http://schemas.microsoft.com/office/drawing/2014/main" id="{D2B1717E-2EB1-7191-BA93-E8CE2EA5CF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119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5" name="Kép 1874">
            <a:extLst>
              <a:ext uri="{FF2B5EF4-FFF2-40B4-BE49-F238E27FC236}">
                <a16:creationId xmlns:a16="http://schemas.microsoft.com/office/drawing/2014/main" id="{3A817940-F72F-EB85-5411-55B68FB022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576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6" name="Kép 1875">
            <a:extLst>
              <a:ext uri="{FF2B5EF4-FFF2-40B4-BE49-F238E27FC236}">
                <a16:creationId xmlns:a16="http://schemas.microsoft.com/office/drawing/2014/main" id="{FB2E6505-4557-7388-0B6B-446A0D038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35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7" name="Kép 1876">
            <a:extLst>
              <a:ext uri="{FF2B5EF4-FFF2-40B4-BE49-F238E27FC236}">
                <a16:creationId xmlns:a16="http://schemas.microsoft.com/office/drawing/2014/main" id="{E5DBFEEA-BD5F-0778-5325-8318495879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35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8" name="Kép 1877">
            <a:extLst>
              <a:ext uri="{FF2B5EF4-FFF2-40B4-BE49-F238E27FC236}">
                <a16:creationId xmlns:a16="http://schemas.microsoft.com/office/drawing/2014/main" id="{A7C781B2-6D0A-B58F-DE73-07E0921596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4133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9" name="Kép 1878">
            <a:extLst>
              <a:ext uri="{FF2B5EF4-FFF2-40B4-BE49-F238E27FC236}">
                <a16:creationId xmlns:a16="http://schemas.microsoft.com/office/drawing/2014/main" id="{63906DB5-C11E-8500-2E8B-C29EACF885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227" y="4133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0" name="Kép 1879">
            <a:extLst>
              <a:ext uri="{FF2B5EF4-FFF2-40B4-BE49-F238E27FC236}">
                <a16:creationId xmlns:a16="http://schemas.microsoft.com/office/drawing/2014/main" id="{71DA007A-DE7F-2D99-11E7-0A37AFCC00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1" name="Kép 1880">
            <a:extLst>
              <a:ext uri="{FF2B5EF4-FFF2-40B4-BE49-F238E27FC236}">
                <a16:creationId xmlns:a16="http://schemas.microsoft.com/office/drawing/2014/main" id="{A3B80EE3-E18E-A4F5-18AE-4750CC23DA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2" name="Kép 1881">
            <a:extLst>
              <a:ext uri="{FF2B5EF4-FFF2-40B4-BE49-F238E27FC236}">
                <a16:creationId xmlns:a16="http://schemas.microsoft.com/office/drawing/2014/main" id="{90D79D6C-A7BD-5D3A-CC5C-747514F2705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949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3" name="Kép 1882">
            <a:extLst>
              <a:ext uri="{FF2B5EF4-FFF2-40B4-BE49-F238E27FC236}">
                <a16:creationId xmlns:a16="http://schemas.microsoft.com/office/drawing/2014/main" id="{B253E299-2CB9-EA05-B9DC-ECB1085090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4" name="Kép 1883">
            <a:extLst>
              <a:ext uri="{FF2B5EF4-FFF2-40B4-BE49-F238E27FC236}">
                <a16:creationId xmlns:a16="http://schemas.microsoft.com/office/drawing/2014/main" id="{1082D513-8B59-DC37-98ED-7F53FBECF3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5" name="Kép 1884">
            <a:extLst>
              <a:ext uri="{FF2B5EF4-FFF2-40B4-BE49-F238E27FC236}">
                <a16:creationId xmlns:a16="http://schemas.microsoft.com/office/drawing/2014/main" id="{7415BC95-27F5-5127-2201-13A8A3AD97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98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6" name="Kép 1885" descr="A képen szöveg látható&#10;&#10;Automatikusan generált leírás">
            <a:extLst>
              <a:ext uri="{FF2B5EF4-FFF2-40B4-BE49-F238E27FC236}">
                <a16:creationId xmlns:a16="http://schemas.microsoft.com/office/drawing/2014/main" id="{7B96C4C3-427E-1213-1B35-94B2A719B8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6433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7" name="Kép 1886">
            <a:extLst>
              <a:ext uri="{FF2B5EF4-FFF2-40B4-BE49-F238E27FC236}">
                <a16:creationId xmlns:a16="http://schemas.microsoft.com/office/drawing/2014/main" id="{D5EA758A-ED40-F1FF-86BE-7262ED5BC7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8" name="Kép 1887">
            <a:extLst>
              <a:ext uri="{FF2B5EF4-FFF2-40B4-BE49-F238E27FC236}">
                <a16:creationId xmlns:a16="http://schemas.microsoft.com/office/drawing/2014/main" id="{EFDE0221-3FAA-48AA-E9AF-46733267EE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055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9" name="Kép 1888">
            <a:extLst>
              <a:ext uri="{FF2B5EF4-FFF2-40B4-BE49-F238E27FC236}">
                <a16:creationId xmlns:a16="http://schemas.microsoft.com/office/drawing/2014/main" id="{728C0E40-0892-B3EB-A5AD-A9FCEF40FD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123531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0" name="Kép 1889">
            <a:extLst>
              <a:ext uri="{FF2B5EF4-FFF2-40B4-BE49-F238E27FC236}">
                <a16:creationId xmlns:a16="http://schemas.microsoft.com/office/drawing/2014/main" id="{0111E652-9604-CBF7-DFFC-01F9B65F11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233" y="123531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1" name="Kép 1890" descr="A képen szöveg látható&#10;&#10;Automatikusan generált leírás">
            <a:extLst>
              <a:ext uri="{FF2B5EF4-FFF2-40B4-BE49-F238E27FC236}">
                <a16:creationId xmlns:a16="http://schemas.microsoft.com/office/drawing/2014/main" id="{D8ED5B2A-A463-9502-8409-6B01AE368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26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2" name="Kép 1891">
            <a:extLst>
              <a:ext uri="{FF2B5EF4-FFF2-40B4-BE49-F238E27FC236}">
                <a16:creationId xmlns:a16="http://schemas.microsoft.com/office/drawing/2014/main" id="{AD64B2CF-756F-3E17-DB38-DD8B5C42F7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3" name="Kép 1892">
            <a:extLst>
              <a:ext uri="{FF2B5EF4-FFF2-40B4-BE49-F238E27FC236}">
                <a16:creationId xmlns:a16="http://schemas.microsoft.com/office/drawing/2014/main" id="{B333FE11-3923-01D4-1150-B74DAE6F28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092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4" name="Kép 1893">
            <a:extLst>
              <a:ext uri="{FF2B5EF4-FFF2-40B4-BE49-F238E27FC236}">
                <a16:creationId xmlns:a16="http://schemas.microsoft.com/office/drawing/2014/main" id="{3927DB2B-87FB-867F-E4BF-D77C9089DE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550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5" name="Kép 1894">
            <a:extLst>
              <a:ext uri="{FF2B5EF4-FFF2-40B4-BE49-F238E27FC236}">
                <a16:creationId xmlns:a16="http://schemas.microsoft.com/office/drawing/2014/main" id="{50040155-8870-8C61-1558-278CEF8202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07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6" name="Kép 1895">
            <a:extLst>
              <a:ext uri="{FF2B5EF4-FFF2-40B4-BE49-F238E27FC236}">
                <a16:creationId xmlns:a16="http://schemas.microsoft.com/office/drawing/2014/main" id="{45A86B0C-02B1-6F18-C22D-8B59C940A5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708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7" name="Kép 1896">
            <a:extLst>
              <a:ext uri="{FF2B5EF4-FFF2-40B4-BE49-F238E27FC236}">
                <a16:creationId xmlns:a16="http://schemas.microsoft.com/office/drawing/2014/main" id="{89F37035-B9A4-C27B-E434-5F4A0CE030C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470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8" name="Kép 1897">
            <a:extLst>
              <a:ext uri="{FF2B5EF4-FFF2-40B4-BE49-F238E27FC236}">
                <a16:creationId xmlns:a16="http://schemas.microsoft.com/office/drawing/2014/main" id="{8D8376DB-A003-506F-4D70-002CB8BBA4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9" name="Kép 1898">
            <a:extLst>
              <a:ext uri="{FF2B5EF4-FFF2-40B4-BE49-F238E27FC236}">
                <a16:creationId xmlns:a16="http://schemas.microsoft.com/office/drawing/2014/main" id="{8911CE99-5CEA-2EA9-EDD8-655A0ABCA8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0" name="Kép 1899">
            <a:extLst>
              <a:ext uri="{FF2B5EF4-FFF2-40B4-BE49-F238E27FC236}">
                <a16:creationId xmlns:a16="http://schemas.microsoft.com/office/drawing/2014/main" id="{8FE3A6C3-CC71-FBE7-8F24-B1BFB01E34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119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1" name="Kép 1900">
            <a:extLst>
              <a:ext uri="{FF2B5EF4-FFF2-40B4-BE49-F238E27FC236}">
                <a16:creationId xmlns:a16="http://schemas.microsoft.com/office/drawing/2014/main" id="{DE0D1D9E-4998-50E5-EFC7-B139D27848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576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2" name="Kép 1901">
            <a:extLst>
              <a:ext uri="{FF2B5EF4-FFF2-40B4-BE49-F238E27FC236}">
                <a16:creationId xmlns:a16="http://schemas.microsoft.com/office/drawing/2014/main" id="{9265571D-5355-F765-51E0-AA7EE7D8DD3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4149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3" name="Kép 1902" descr="A képen szöveg látható&#10;&#10;Automatikusan generált leírás">
            <a:extLst>
              <a:ext uri="{FF2B5EF4-FFF2-40B4-BE49-F238E27FC236}">
                <a16:creationId xmlns:a16="http://schemas.microsoft.com/office/drawing/2014/main" id="{131C37FD-3A40-8A2A-1FA3-2A6B64C84B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047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4" name="Kép 1903">
            <a:extLst>
              <a:ext uri="{FF2B5EF4-FFF2-40B4-BE49-F238E27FC236}">
                <a16:creationId xmlns:a16="http://schemas.microsoft.com/office/drawing/2014/main" id="{85AD8F46-81AE-AA8D-B8EC-0A57189937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5" name="Kép 1904" descr="A képen szöveg látható&#10;&#10;Automatikusan generált leírás">
            <a:extLst>
              <a:ext uri="{FF2B5EF4-FFF2-40B4-BE49-F238E27FC236}">
                <a16:creationId xmlns:a16="http://schemas.microsoft.com/office/drawing/2014/main" id="{5B673EFF-7CF0-8CDC-68DE-7E512AB6AB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34" y="16445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6" name="Kép 1905">
            <a:extLst>
              <a:ext uri="{FF2B5EF4-FFF2-40B4-BE49-F238E27FC236}">
                <a16:creationId xmlns:a16="http://schemas.microsoft.com/office/drawing/2014/main" id="{C82024E1-A8D0-95E3-BA80-E61DF0509F8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02" y="82419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7" name="Kép 1906">
            <a:extLst>
              <a:ext uri="{FF2B5EF4-FFF2-40B4-BE49-F238E27FC236}">
                <a16:creationId xmlns:a16="http://schemas.microsoft.com/office/drawing/2014/main" id="{C7E32960-C601-09C0-79D9-F8D46EAFAC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82419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8" name="Kép 1907">
            <a:extLst>
              <a:ext uri="{FF2B5EF4-FFF2-40B4-BE49-F238E27FC236}">
                <a16:creationId xmlns:a16="http://schemas.microsoft.com/office/drawing/2014/main" id="{FA292119-9760-82AA-C9C5-AF8065CBCB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12340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9" name="Kép 1908">
            <a:extLst>
              <a:ext uri="{FF2B5EF4-FFF2-40B4-BE49-F238E27FC236}">
                <a16:creationId xmlns:a16="http://schemas.microsoft.com/office/drawing/2014/main" id="{62234BAD-95E1-C6B5-3B33-BE94784C47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51" y="12340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0" name="Kép 1909">
            <a:extLst>
              <a:ext uri="{FF2B5EF4-FFF2-40B4-BE49-F238E27FC236}">
                <a16:creationId xmlns:a16="http://schemas.microsoft.com/office/drawing/2014/main" id="{6D354130-13A2-EC89-003B-7A76EEC4F0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977" y="8238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1" name="Kép 1910">
            <a:extLst>
              <a:ext uri="{FF2B5EF4-FFF2-40B4-BE49-F238E27FC236}">
                <a16:creationId xmlns:a16="http://schemas.microsoft.com/office/drawing/2014/main" id="{FD4F9A96-9BDA-F58A-6AA5-E37394D927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49471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2" name="Kép 1911">
            <a:extLst>
              <a:ext uri="{FF2B5EF4-FFF2-40B4-BE49-F238E27FC236}">
                <a16:creationId xmlns:a16="http://schemas.microsoft.com/office/drawing/2014/main" id="{33E2AF94-17D9-DF85-2A2E-102425F75F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24" y="49471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3" name="Kép 1912">
            <a:extLst>
              <a:ext uri="{FF2B5EF4-FFF2-40B4-BE49-F238E27FC236}">
                <a16:creationId xmlns:a16="http://schemas.microsoft.com/office/drawing/2014/main" id="{F73E064E-CCA8-6B6A-6258-5E0905E1618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45360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4" name="Kép 1913">
            <a:extLst>
              <a:ext uri="{FF2B5EF4-FFF2-40B4-BE49-F238E27FC236}">
                <a16:creationId xmlns:a16="http://schemas.microsoft.com/office/drawing/2014/main" id="{F028C571-9A93-2D12-D59A-921EB100C9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35430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5" name="Kép 1914">
            <a:extLst>
              <a:ext uri="{FF2B5EF4-FFF2-40B4-BE49-F238E27FC236}">
                <a16:creationId xmlns:a16="http://schemas.microsoft.com/office/drawing/2014/main" id="{19675622-A30E-A45E-5457-86C28F74E1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35430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6" name="Kép 1915">
            <a:extLst>
              <a:ext uri="{FF2B5EF4-FFF2-40B4-BE49-F238E27FC236}">
                <a16:creationId xmlns:a16="http://schemas.microsoft.com/office/drawing/2014/main" id="{EE1D57F4-09BE-3891-70AD-A3C4914833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7641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7" name="Kép 1916">
            <a:extLst>
              <a:ext uri="{FF2B5EF4-FFF2-40B4-BE49-F238E27FC236}">
                <a16:creationId xmlns:a16="http://schemas.microsoft.com/office/drawing/2014/main" id="{DFE59AE0-5672-30B8-60BD-5E810A8761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586" y="57641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8" name="Kép 1917">
            <a:extLst>
              <a:ext uri="{FF2B5EF4-FFF2-40B4-BE49-F238E27FC236}">
                <a16:creationId xmlns:a16="http://schemas.microsoft.com/office/drawing/2014/main" id="{4D5F0DDB-C2AD-FE8D-0140-2931463349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76386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9" name="Kép 1918">
            <a:extLst>
              <a:ext uri="{FF2B5EF4-FFF2-40B4-BE49-F238E27FC236}">
                <a16:creationId xmlns:a16="http://schemas.microsoft.com/office/drawing/2014/main" id="{E4AA6A68-899C-C4A8-C4D9-B8FD3C2164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0" name="Kép 1919">
            <a:extLst>
              <a:ext uri="{FF2B5EF4-FFF2-40B4-BE49-F238E27FC236}">
                <a16:creationId xmlns:a16="http://schemas.microsoft.com/office/drawing/2014/main" id="{29A2EE92-F9C2-F052-7154-14DBBC45705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308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1" name="Kép 1920">
            <a:extLst>
              <a:ext uri="{FF2B5EF4-FFF2-40B4-BE49-F238E27FC236}">
                <a16:creationId xmlns:a16="http://schemas.microsoft.com/office/drawing/2014/main" id="{AAB79E6D-C3D4-DF58-0F0E-7B66CFD893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99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2" name="Kép 1921">
            <a:extLst>
              <a:ext uri="{FF2B5EF4-FFF2-40B4-BE49-F238E27FC236}">
                <a16:creationId xmlns:a16="http://schemas.microsoft.com/office/drawing/2014/main" id="{CAE529A8-FA55-C86D-D28D-B5BB026F298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576386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3" name="Kép 1922" descr="A képen szöveg látható&#10;&#10;Automatikusan generált leírás">
            <a:extLst>
              <a:ext uri="{FF2B5EF4-FFF2-40B4-BE49-F238E27FC236}">
                <a16:creationId xmlns:a16="http://schemas.microsoft.com/office/drawing/2014/main" id="{A0F5138F-31D8-BE94-F029-63CAA879B3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885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4" name="Kép 1923">
            <a:extLst>
              <a:ext uri="{FF2B5EF4-FFF2-40B4-BE49-F238E27FC236}">
                <a16:creationId xmlns:a16="http://schemas.microsoft.com/office/drawing/2014/main" id="{BC68C74A-F2FF-F88B-E5C4-CA2E45C778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639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5" name="Kép 1924">
            <a:extLst>
              <a:ext uri="{FF2B5EF4-FFF2-40B4-BE49-F238E27FC236}">
                <a16:creationId xmlns:a16="http://schemas.microsoft.com/office/drawing/2014/main" id="{745E92B5-A10D-AD22-EC0F-F1DF432293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366" y="5353370"/>
            <a:ext cx="688704" cy="68870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2114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22676221-1D90-09DE-6320-65E0B6DE73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5955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22676221-1D90-09DE-6320-65E0B6DE7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ép 6">
            <a:extLst>
              <a:ext uri="{FF2B5EF4-FFF2-40B4-BE49-F238E27FC236}">
                <a16:creationId xmlns:a16="http://schemas.microsoft.com/office/drawing/2014/main" id="{07CCBCBF-934A-8C6E-6B13-64098942FC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671" t="20516" r="15671" b="20515"/>
          <a:stretch/>
        </p:blipFill>
        <p:spPr>
          <a:xfrm>
            <a:off x="704850" y="-1"/>
            <a:ext cx="107823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189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um 36" hidden="1">
            <a:extLst>
              <a:ext uri="{FF2B5EF4-FFF2-40B4-BE49-F238E27FC236}">
                <a16:creationId xmlns:a16="http://schemas.microsoft.com/office/drawing/2014/main" id="{6FFA58A1-BCCF-7E6D-7046-C74579AC1C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7" name="Objektum 36" hidden="1">
                        <a:extLst>
                          <a:ext uri="{FF2B5EF4-FFF2-40B4-BE49-F238E27FC236}">
                            <a16:creationId xmlns:a16="http://schemas.microsoft.com/office/drawing/2014/main" id="{6FFA58A1-BCCF-7E6D-7046-C74579AC1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>
            <a:extLst>
              <a:ext uri="{FF2B5EF4-FFF2-40B4-BE49-F238E27FC236}">
                <a16:creationId xmlns:a16="http://schemas.microsoft.com/office/drawing/2014/main" id="{C857BE17-1D10-829F-6C3D-39F01C413974}"/>
              </a:ext>
            </a:extLst>
          </p:cNvPr>
          <p:cNvSpPr/>
          <p:nvPr/>
        </p:nvSpPr>
        <p:spPr>
          <a:xfrm>
            <a:off x="952500" y="0"/>
            <a:ext cx="10287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14A14B17-0F2F-C0D5-2A7B-CCDBD1E595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8043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C411B736-7163-9C27-4A12-D7BE1E5009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07182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05C3CA21-F44A-3E01-B2A1-E89B087D33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07182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13B977D0-D9F8-409A-B0D1-BDF1216A9F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024" y="248169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BB66C909-39D4-C48C-8A09-246DE4D24F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82" y="248169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" name="Kép 7" descr="A képen szöveg látható&#10;&#10;Automatikusan generált leírás">
            <a:extLst>
              <a:ext uri="{FF2B5EF4-FFF2-40B4-BE49-F238E27FC236}">
                <a16:creationId xmlns:a16="http://schemas.microsoft.com/office/drawing/2014/main" id="{F419227B-3F57-8DD8-E10D-3D81729034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317" y="166070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B0BFBE1E-8754-70D1-E68E-FC6FD2743E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166070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2B0945EF-9936-8F66-EF59-4B0F8B8E40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071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317F5A89-80DA-BC8C-F3E5-CF0C6137EB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A038A929-ED1D-60AD-C6AE-521D3D7FDA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204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75706A94-AECE-5C67-B6D3-6F32125D71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" name="Kép 13">
            <a:extLst>
              <a:ext uri="{FF2B5EF4-FFF2-40B4-BE49-F238E27FC236}">
                <a16:creationId xmlns:a16="http://schemas.microsoft.com/office/drawing/2014/main" id="{65A3C6EE-7FE1-CBF5-1B0E-68A407E17F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95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059C988E-F705-94BD-B49F-FE5189B840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53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" name="Kép 15" descr="A képen szöveg látható&#10;&#10;Automatikusan generált leírás">
            <a:extLst>
              <a:ext uri="{FF2B5EF4-FFF2-40B4-BE49-F238E27FC236}">
                <a16:creationId xmlns:a16="http://schemas.microsoft.com/office/drawing/2014/main" id="{DD37612D-8588-5592-5345-A529542FF21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688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" name="Kép 16">
            <a:extLst>
              <a:ext uri="{FF2B5EF4-FFF2-40B4-BE49-F238E27FC236}">
                <a16:creationId xmlns:a16="http://schemas.microsoft.com/office/drawing/2014/main" id="{ACE6D892-2BAD-6FD1-82CA-8F059A5261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442" y="248138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02565341-ACDE-C036-660E-F1F62E8B74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310" y="33023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" name="Kép 18">
            <a:extLst>
              <a:ext uri="{FF2B5EF4-FFF2-40B4-BE49-F238E27FC236}">
                <a16:creationId xmlns:a16="http://schemas.microsoft.com/office/drawing/2014/main" id="{624068ED-B12B-E4C5-8F01-4E7ED5B6B2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33036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" name="Kép 19">
            <a:extLst>
              <a:ext uri="{FF2B5EF4-FFF2-40B4-BE49-F238E27FC236}">
                <a16:creationId xmlns:a16="http://schemas.microsoft.com/office/drawing/2014/main" id="{58F2A684-0587-C00F-A12D-B83F24A23A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488" y="33036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" name="Kép 20" descr="A képen szöveg látható&#10;&#10;Automatikusan generált leírás">
            <a:extLst>
              <a:ext uri="{FF2B5EF4-FFF2-40B4-BE49-F238E27FC236}">
                <a16:creationId xmlns:a16="http://schemas.microsoft.com/office/drawing/2014/main" id="{6350F957-D616-27B3-5BAD-F2D6C37ADE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781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2DACB530-A45A-49E4-6C8A-0A6F3667AE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35" y="28924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" name="Kép 22">
            <a:extLst>
              <a:ext uri="{FF2B5EF4-FFF2-40B4-BE49-F238E27FC236}">
                <a16:creationId xmlns:a16="http://schemas.microsoft.com/office/drawing/2014/main" id="{804D60F7-3FF1-7FCE-D216-893B63690E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156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" name="Kép 23">
            <a:extLst>
              <a:ext uri="{FF2B5EF4-FFF2-40B4-BE49-F238E27FC236}">
                <a16:creationId xmlns:a16="http://schemas.microsoft.com/office/drawing/2014/main" id="{3CB36618-C3FA-2F6F-52C8-CBBF546E7B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" name="Kép 24">
            <a:extLst>
              <a:ext uri="{FF2B5EF4-FFF2-40B4-BE49-F238E27FC236}">
                <a16:creationId xmlns:a16="http://schemas.microsoft.com/office/drawing/2014/main" id="{8CE32CE4-39B3-B473-DB61-73302929C5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47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" name="Kép 25">
            <a:extLst>
              <a:ext uri="{FF2B5EF4-FFF2-40B4-BE49-F238E27FC236}">
                <a16:creationId xmlns:a16="http://schemas.microsoft.com/office/drawing/2014/main" id="{02892BDF-837A-F843-1237-BC8BEFB333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805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" name="Kép 26">
            <a:extLst>
              <a:ext uri="{FF2B5EF4-FFF2-40B4-BE49-F238E27FC236}">
                <a16:creationId xmlns:a16="http://schemas.microsoft.com/office/drawing/2014/main" id="{A1CAD01E-87EB-AE6D-FCA2-09D41CA53C8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262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" name="Kép 27">
            <a:extLst>
              <a:ext uri="{FF2B5EF4-FFF2-40B4-BE49-F238E27FC236}">
                <a16:creationId xmlns:a16="http://schemas.microsoft.com/office/drawing/2014/main" id="{E649E00F-422A-2EB3-EA7B-BB83697E5F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" name="Kép 28">
            <a:extLst>
              <a:ext uri="{FF2B5EF4-FFF2-40B4-BE49-F238E27FC236}">
                <a16:creationId xmlns:a16="http://schemas.microsoft.com/office/drawing/2014/main" id="{EADE54E3-64E1-F1A6-6882-0D650CAFCC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166101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" name="Kép 29">
            <a:extLst>
              <a:ext uri="{FF2B5EF4-FFF2-40B4-BE49-F238E27FC236}">
                <a16:creationId xmlns:a16="http://schemas.microsoft.com/office/drawing/2014/main" id="{0E35B3C0-3719-33FC-6A05-40A6CFF244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81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" name="Kép 30">
            <a:extLst>
              <a:ext uri="{FF2B5EF4-FFF2-40B4-BE49-F238E27FC236}">
                <a16:creationId xmlns:a16="http://schemas.microsoft.com/office/drawing/2014/main" id="{0BC535E8-5128-B76D-0721-7E8FB1E7FE1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539" y="20708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" name="Kép 31">
            <a:extLst>
              <a:ext uri="{FF2B5EF4-FFF2-40B4-BE49-F238E27FC236}">
                <a16:creationId xmlns:a16="http://schemas.microsoft.com/office/drawing/2014/main" id="{0C21495A-D388-7C08-D99C-B3503EEBDA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28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" name="Kép 32">
            <a:extLst>
              <a:ext uri="{FF2B5EF4-FFF2-40B4-BE49-F238E27FC236}">
                <a16:creationId xmlns:a16="http://schemas.microsoft.com/office/drawing/2014/main" id="{D8B7AED6-4A6E-F7E9-62F9-EAE1D6FEC2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" name="Kép 33">
            <a:extLst>
              <a:ext uri="{FF2B5EF4-FFF2-40B4-BE49-F238E27FC236}">
                <a16:creationId xmlns:a16="http://schemas.microsoft.com/office/drawing/2014/main" id="{D565CD66-294E-88D1-48DB-2D18277C06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261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" name="Kép 34">
            <a:extLst>
              <a:ext uri="{FF2B5EF4-FFF2-40B4-BE49-F238E27FC236}">
                <a16:creationId xmlns:a16="http://schemas.microsoft.com/office/drawing/2014/main" id="{F69B0378-62D4-772D-F412-4BDC00C512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" name="Kép 35">
            <a:extLst>
              <a:ext uri="{FF2B5EF4-FFF2-40B4-BE49-F238E27FC236}">
                <a16:creationId xmlns:a16="http://schemas.microsoft.com/office/drawing/2014/main" id="{4AF7E841-6FC2-6592-7789-F60AF6A8BC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452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" name="Kép 37">
            <a:extLst>
              <a:ext uri="{FF2B5EF4-FFF2-40B4-BE49-F238E27FC236}">
                <a16:creationId xmlns:a16="http://schemas.microsoft.com/office/drawing/2014/main" id="{46021ABC-6FF0-8C92-C5D6-75756986FF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910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" name="Kép 38" descr="A képen szöveg látható&#10;&#10;Automatikusan generált leírás">
            <a:extLst>
              <a:ext uri="{FF2B5EF4-FFF2-40B4-BE49-F238E27FC236}">
                <a16:creationId xmlns:a16="http://schemas.microsoft.com/office/drawing/2014/main" id="{A27F43FE-D391-F0AD-9537-88A284BA48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4745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0" name="Kép 39">
            <a:extLst>
              <a:ext uri="{FF2B5EF4-FFF2-40B4-BE49-F238E27FC236}">
                <a16:creationId xmlns:a16="http://schemas.microsoft.com/office/drawing/2014/main" id="{2F74536E-FE70-7F24-187F-13EAA6FA38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499" y="20705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1" name="Kép 40">
            <a:extLst>
              <a:ext uri="{FF2B5EF4-FFF2-40B4-BE49-F238E27FC236}">
                <a16:creationId xmlns:a16="http://schemas.microsoft.com/office/drawing/2014/main" id="{42D0EAED-9CFA-BB31-49EB-35599118C7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367" y="28915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2" name="Kép 41">
            <a:extLst>
              <a:ext uri="{FF2B5EF4-FFF2-40B4-BE49-F238E27FC236}">
                <a16:creationId xmlns:a16="http://schemas.microsoft.com/office/drawing/2014/main" id="{D3C714E6-2870-415E-A1AF-BB6310599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8928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3" name="Kép 42">
            <a:extLst>
              <a:ext uri="{FF2B5EF4-FFF2-40B4-BE49-F238E27FC236}">
                <a16:creationId xmlns:a16="http://schemas.microsoft.com/office/drawing/2014/main" id="{F131A41F-0EFC-0C9E-D6C5-69D4FF275A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545" y="28928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4" name="Kép 43" descr="A képen szöveg látható&#10;&#10;Automatikusan generált leírás">
            <a:extLst>
              <a:ext uri="{FF2B5EF4-FFF2-40B4-BE49-F238E27FC236}">
                <a16:creationId xmlns:a16="http://schemas.microsoft.com/office/drawing/2014/main" id="{A5ED0605-2AFC-A0FB-3008-07047C8F2F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38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5" name="Kép 44">
            <a:extLst>
              <a:ext uri="{FF2B5EF4-FFF2-40B4-BE49-F238E27FC236}">
                <a16:creationId xmlns:a16="http://schemas.microsoft.com/office/drawing/2014/main" id="{54626613-0E1E-7B8A-D8DB-30FF49DA20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92" y="24816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6" name="Kép 45">
            <a:extLst>
              <a:ext uri="{FF2B5EF4-FFF2-40B4-BE49-F238E27FC236}">
                <a16:creationId xmlns:a16="http://schemas.microsoft.com/office/drawing/2014/main" id="{6C1AEA12-6742-3087-BEC2-932FD8CEDA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404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7" name="Kép 46">
            <a:extLst>
              <a:ext uri="{FF2B5EF4-FFF2-40B4-BE49-F238E27FC236}">
                <a16:creationId xmlns:a16="http://schemas.microsoft.com/office/drawing/2014/main" id="{010C1787-2622-1789-083D-ACEAAD1FEA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862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8" name="Kép 47">
            <a:extLst>
              <a:ext uri="{FF2B5EF4-FFF2-40B4-BE49-F238E27FC236}">
                <a16:creationId xmlns:a16="http://schemas.microsoft.com/office/drawing/2014/main" id="{49C66913-2EB0-D6A8-3289-C1C6AA24FA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319" y="16600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9" name="Kép 48">
            <a:extLst>
              <a:ext uri="{FF2B5EF4-FFF2-40B4-BE49-F238E27FC236}">
                <a16:creationId xmlns:a16="http://schemas.microsoft.com/office/drawing/2014/main" id="{A401A553-E6B6-A236-107B-5618F008F5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7128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0" name="Kép 49">
            <a:extLst>
              <a:ext uri="{FF2B5EF4-FFF2-40B4-BE49-F238E27FC236}">
                <a16:creationId xmlns:a16="http://schemas.microsoft.com/office/drawing/2014/main" id="{441CCFF5-BDD7-CDFE-A298-8F46D68588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37128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1" name="Kép 50">
            <a:extLst>
              <a:ext uri="{FF2B5EF4-FFF2-40B4-BE49-F238E27FC236}">
                <a16:creationId xmlns:a16="http://schemas.microsoft.com/office/drawing/2014/main" id="{922ADBF4-720E-E387-666B-77A338B944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761" y="41227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2" name="Kép 51">
            <a:extLst>
              <a:ext uri="{FF2B5EF4-FFF2-40B4-BE49-F238E27FC236}">
                <a16:creationId xmlns:a16="http://schemas.microsoft.com/office/drawing/2014/main" id="{27180060-A0A4-6F76-12A3-20CD8E8E60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19" y="41227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3" name="Kép 52" descr="A képen szöveg látható&#10;&#10;Automatikusan generált leírás">
            <a:extLst>
              <a:ext uri="{FF2B5EF4-FFF2-40B4-BE49-F238E27FC236}">
                <a16:creationId xmlns:a16="http://schemas.microsoft.com/office/drawing/2014/main" id="{CE2D7BD9-6EC7-52A7-3B0F-9E506B9FBCF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054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4" name="Kép 53">
            <a:extLst>
              <a:ext uri="{FF2B5EF4-FFF2-40B4-BE49-F238E27FC236}">
                <a16:creationId xmlns:a16="http://schemas.microsoft.com/office/drawing/2014/main" id="{0D37A64F-E984-ABAC-CBCC-DD22751797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5" name="Kép 54">
            <a:extLst>
              <a:ext uri="{FF2B5EF4-FFF2-40B4-BE49-F238E27FC236}">
                <a16:creationId xmlns:a16="http://schemas.microsoft.com/office/drawing/2014/main" id="{28929356-18A2-4FB7-9574-4EA2FABDD7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8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6" name="Kép 55">
            <a:extLst>
              <a:ext uri="{FF2B5EF4-FFF2-40B4-BE49-F238E27FC236}">
                <a16:creationId xmlns:a16="http://schemas.microsoft.com/office/drawing/2014/main" id="{A7EDE301-EFDB-0364-811D-71B44BA9E0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7" name="Kép 56">
            <a:extLst>
              <a:ext uri="{FF2B5EF4-FFF2-40B4-BE49-F238E27FC236}">
                <a16:creationId xmlns:a16="http://schemas.microsoft.com/office/drawing/2014/main" id="{061CC2F1-5F36-9843-8091-142278E074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941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8" name="Kép 57">
            <a:extLst>
              <a:ext uri="{FF2B5EF4-FFF2-40B4-BE49-F238E27FC236}">
                <a16:creationId xmlns:a16="http://schemas.microsoft.com/office/drawing/2014/main" id="{5B3E575B-85A8-E90E-D8A3-413217EDF6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59" name="Kép 58">
            <a:extLst>
              <a:ext uri="{FF2B5EF4-FFF2-40B4-BE49-F238E27FC236}">
                <a16:creationId xmlns:a16="http://schemas.microsoft.com/office/drawing/2014/main" id="{9D82935F-C0E5-EAF3-4E05-EB344747C0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132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0" name="Kép 59">
            <a:extLst>
              <a:ext uri="{FF2B5EF4-FFF2-40B4-BE49-F238E27FC236}">
                <a16:creationId xmlns:a16="http://schemas.microsoft.com/office/drawing/2014/main" id="{2510C6DF-CA10-DE83-DAD9-76A5D587B9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590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1" name="Kép 60" descr="A képen szöveg látható&#10;&#10;Automatikusan generált leírás">
            <a:extLst>
              <a:ext uri="{FF2B5EF4-FFF2-40B4-BE49-F238E27FC236}">
                <a16:creationId xmlns:a16="http://schemas.microsoft.com/office/drawing/2014/main" id="{1119F9E2-2B7F-DFEB-B394-2E1EC3A8EE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5425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2" name="Kép 61">
            <a:extLst>
              <a:ext uri="{FF2B5EF4-FFF2-40B4-BE49-F238E27FC236}">
                <a16:creationId xmlns:a16="http://schemas.microsoft.com/office/drawing/2014/main" id="{0DEB947D-D545-EDA1-7F0A-6CB2C1B2EBB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179" y="41224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3" name="Kép 62">
            <a:extLst>
              <a:ext uri="{FF2B5EF4-FFF2-40B4-BE49-F238E27FC236}">
                <a16:creationId xmlns:a16="http://schemas.microsoft.com/office/drawing/2014/main" id="{FFEED206-F33B-A506-8ECA-77B3670727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047" y="49434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4" name="Kép 63">
            <a:extLst>
              <a:ext uri="{FF2B5EF4-FFF2-40B4-BE49-F238E27FC236}">
                <a16:creationId xmlns:a16="http://schemas.microsoft.com/office/drawing/2014/main" id="{8FE34ACE-6E66-561B-AC4E-65600494E6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49446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5" name="Kép 64">
            <a:extLst>
              <a:ext uri="{FF2B5EF4-FFF2-40B4-BE49-F238E27FC236}">
                <a16:creationId xmlns:a16="http://schemas.microsoft.com/office/drawing/2014/main" id="{706DC800-7C73-6930-853F-DB163AE9A0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225" y="49446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6" name="Kép 65" descr="A képen szöveg látható&#10;&#10;Automatikusan generált leírás">
            <a:extLst>
              <a:ext uri="{FF2B5EF4-FFF2-40B4-BE49-F238E27FC236}">
                <a16:creationId xmlns:a16="http://schemas.microsoft.com/office/drawing/2014/main" id="{3434EB20-2F74-8B85-FD40-D78B53046DF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18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7" name="Kép 66">
            <a:extLst>
              <a:ext uri="{FF2B5EF4-FFF2-40B4-BE49-F238E27FC236}">
                <a16:creationId xmlns:a16="http://schemas.microsoft.com/office/drawing/2014/main" id="{98C95158-F34E-6460-D211-45A0707D4D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272" y="45335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8" name="Kép 67">
            <a:extLst>
              <a:ext uri="{FF2B5EF4-FFF2-40B4-BE49-F238E27FC236}">
                <a16:creationId xmlns:a16="http://schemas.microsoft.com/office/drawing/2014/main" id="{653320D6-9ADA-4553-C218-C3B7E17C97A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893" y="330206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69" name="Kép 68">
            <a:extLst>
              <a:ext uri="{FF2B5EF4-FFF2-40B4-BE49-F238E27FC236}">
                <a16:creationId xmlns:a16="http://schemas.microsoft.com/office/drawing/2014/main" id="{1B59D91F-7198-881A-08A0-1AD11D6775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30206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0" name="Kép 69">
            <a:extLst>
              <a:ext uri="{FF2B5EF4-FFF2-40B4-BE49-F238E27FC236}">
                <a16:creationId xmlns:a16="http://schemas.microsoft.com/office/drawing/2014/main" id="{BFB0BE81-0443-E61B-D9E4-A651C16E49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84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1" name="Kép 70">
            <a:extLst>
              <a:ext uri="{FF2B5EF4-FFF2-40B4-BE49-F238E27FC236}">
                <a16:creationId xmlns:a16="http://schemas.microsoft.com/office/drawing/2014/main" id="{FF3D4F57-34C4-8723-3685-470C816B226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542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2" name="Kép 71">
            <a:extLst>
              <a:ext uri="{FF2B5EF4-FFF2-40B4-BE49-F238E27FC236}">
                <a16:creationId xmlns:a16="http://schemas.microsoft.com/office/drawing/2014/main" id="{CD26CBC0-C77A-3ADF-723C-57E5E4B3F2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999" y="37119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3" name="Kép 72">
            <a:extLst>
              <a:ext uri="{FF2B5EF4-FFF2-40B4-BE49-F238E27FC236}">
                <a16:creationId xmlns:a16="http://schemas.microsoft.com/office/drawing/2014/main" id="{756FAE2E-C3BF-F1DC-EEB4-7895E9A38C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37107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4" name="Kép 73">
            <a:extLst>
              <a:ext uri="{FF2B5EF4-FFF2-40B4-BE49-F238E27FC236}">
                <a16:creationId xmlns:a16="http://schemas.microsoft.com/office/drawing/2014/main" id="{CA299B6D-E146-A0ED-4394-5BC912983F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37107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5" name="Kép 74">
            <a:extLst>
              <a:ext uri="{FF2B5EF4-FFF2-40B4-BE49-F238E27FC236}">
                <a16:creationId xmlns:a16="http://schemas.microsoft.com/office/drawing/2014/main" id="{DBF7CE9C-8939-2E4D-BB27-98E6052EFC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92" y="41205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6" name="Kép 75">
            <a:extLst>
              <a:ext uri="{FF2B5EF4-FFF2-40B4-BE49-F238E27FC236}">
                <a16:creationId xmlns:a16="http://schemas.microsoft.com/office/drawing/2014/main" id="{4E04F32C-5594-FEED-7592-FD4D9EA5FB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50" y="41205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7" name="Kép 76">
            <a:extLst>
              <a:ext uri="{FF2B5EF4-FFF2-40B4-BE49-F238E27FC236}">
                <a16:creationId xmlns:a16="http://schemas.microsoft.com/office/drawing/2014/main" id="{D0CFB230-432E-7F67-93A8-F6CA6A9F73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239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8" name="Kép 77">
            <a:extLst>
              <a:ext uri="{FF2B5EF4-FFF2-40B4-BE49-F238E27FC236}">
                <a16:creationId xmlns:a16="http://schemas.microsoft.com/office/drawing/2014/main" id="{2F13A2D0-0CDB-9831-E28B-16B445A751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79" name="Kép 78">
            <a:extLst>
              <a:ext uri="{FF2B5EF4-FFF2-40B4-BE49-F238E27FC236}">
                <a16:creationId xmlns:a16="http://schemas.microsoft.com/office/drawing/2014/main" id="{115485DC-C6CE-BEAC-62AE-7642A0038F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372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0" name="Kép 79">
            <a:extLst>
              <a:ext uri="{FF2B5EF4-FFF2-40B4-BE49-F238E27FC236}">
                <a16:creationId xmlns:a16="http://schemas.microsoft.com/office/drawing/2014/main" id="{E41A3B7D-6FD2-5156-00C7-966790CC98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1" name="Kép 80">
            <a:extLst>
              <a:ext uri="{FF2B5EF4-FFF2-40B4-BE49-F238E27FC236}">
                <a16:creationId xmlns:a16="http://schemas.microsoft.com/office/drawing/2014/main" id="{B2476B42-1B34-D77A-16F3-2AE49DBE8D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563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2" name="Kép 81">
            <a:extLst>
              <a:ext uri="{FF2B5EF4-FFF2-40B4-BE49-F238E27FC236}">
                <a16:creationId xmlns:a16="http://schemas.microsoft.com/office/drawing/2014/main" id="{D0E8E264-92CA-79B2-1E2A-D70734960C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021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3" name="Kép 82" descr="A képen szöveg látható&#10;&#10;Automatikusan generált leírás">
            <a:extLst>
              <a:ext uri="{FF2B5EF4-FFF2-40B4-BE49-F238E27FC236}">
                <a16:creationId xmlns:a16="http://schemas.microsoft.com/office/drawing/2014/main" id="{015BF712-4C27-28E1-906E-D906336FF1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856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4" name="Kép 83">
            <a:extLst>
              <a:ext uri="{FF2B5EF4-FFF2-40B4-BE49-F238E27FC236}">
                <a16:creationId xmlns:a16="http://schemas.microsoft.com/office/drawing/2014/main" id="{CC1F75EB-D1AA-A3CC-8BD0-99BD37E3A5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610" y="41202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5" name="Kép 84">
            <a:extLst>
              <a:ext uri="{FF2B5EF4-FFF2-40B4-BE49-F238E27FC236}">
                <a16:creationId xmlns:a16="http://schemas.microsoft.com/office/drawing/2014/main" id="{EEB25A1A-9B3D-B21B-3493-FC88BA73AC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478" y="49412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6" name="Kép 85">
            <a:extLst>
              <a:ext uri="{FF2B5EF4-FFF2-40B4-BE49-F238E27FC236}">
                <a16:creationId xmlns:a16="http://schemas.microsoft.com/office/drawing/2014/main" id="{9BF06FDE-97F8-2190-381B-65B5C698CB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49425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7" name="Kép 86">
            <a:extLst>
              <a:ext uri="{FF2B5EF4-FFF2-40B4-BE49-F238E27FC236}">
                <a16:creationId xmlns:a16="http://schemas.microsoft.com/office/drawing/2014/main" id="{7ECA2AAA-68D7-B384-C416-21E5AFB31C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656" y="49425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8" name="Kép 87" descr="A képen szöveg látható&#10;&#10;Automatikusan generált leírás">
            <a:extLst>
              <a:ext uri="{FF2B5EF4-FFF2-40B4-BE49-F238E27FC236}">
                <a16:creationId xmlns:a16="http://schemas.microsoft.com/office/drawing/2014/main" id="{72F974F9-923B-66AF-BD7C-5C5384D1D0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949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89" name="Kép 88">
            <a:extLst>
              <a:ext uri="{FF2B5EF4-FFF2-40B4-BE49-F238E27FC236}">
                <a16:creationId xmlns:a16="http://schemas.microsoft.com/office/drawing/2014/main" id="{849FC9D1-93B5-D373-4865-5448C89681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03" y="45314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0" name="Kép 89">
            <a:extLst>
              <a:ext uri="{FF2B5EF4-FFF2-40B4-BE49-F238E27FC236}">
                <a16:creationId xmlns:a16="http://schemas.microsoft.com/office/drawing/2014/main" id="{1309B7B4-4393-57E7-2156-43FE488E71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515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1" name="Kép 90">
            <a:extLst>
              <a:ext uri="{FF2B5EF4-FFF2-40B4-BE49-F238E27FC236}">
                <a16:creationId xmlns:a16="http://schemas.microsoft.com/office/drawing/2014/main" id="{FE8FF506-E1E6-ACD0-17EC-7E48FB506B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973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2" name="Kép 91">
            <a:extLst>
              <a:ext uri="{FF2B5EF4-FFF2-40B4-BE49-F238E27FC236}">
                <a16:creationId xmlns:a16="http://schemas.microsoft.com/office/drawing/2014/main" id="{CE8827F2-83A3-9920-1897-A45C0492B9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430" y="37097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3" name="Kép 92">
            <a:extLst>
              <a:ext uri="{FF2B5EF4-FFF2-40B4-BE49-F238E27FC236}">
                <a16:creationId xmlns:a16="http://schemas.microsoft.com/office/drawing/2014/main" id="{065E837C-3565-81FF-C12F-90DE38502A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768" y="330175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4" name="Kép 93">
            <a:extLst>
              <a:ext uri="{FF2B5EF4-FFF2-40B4-BE49-F238E27FC236}">
                <a16:creationId xmlns:a16="http://schemas.microsoft.com/office/drawing/2014/main" id="{AA84C182-718A-8F49-73BA-F868E45A63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84127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5" name="Kép 94">
            <a:extLst>
              <a:ext uri="{FF2B5EF4-FFF2-40B4-BE49-F238E27FC236}">
                <a16:creationId xmlns:a16="http://schemas.microsoft.com/office/drawing/2014/main" id="{93B9DE9E-791F-D4C7-D1B1-DEFC8B503B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84127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6" name="Kép 95">
            <a:extLst>
              <a:ext uri="{FF2B5EF4-FFF2-40B4-BE49-F238E27FC236}">
                <a16:creationId xmlns:a16="http://schemas.microsoft.com/office/drawing/2014/main" id="{CB102A48-9C1C-B0F5-8E52-C27D80D514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635" y="12511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7" name="Kép 96">
            <a:extLst>
              <a:ext uri="{FF2B5EF4-FFF2-40B4-BE49-F238E27FC236}">
                <a16:creationId xmlns:a16="http://schemas.microsoft.com/office/drawing/2014/main" id="{D49AB5B5-48B3-DE84-4C20-43C13D0730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7093" y="12511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8" name="Kép 97">
            <a:extLst>
              <a:ext uri="{FF2B5EF4-FFF2-40B4-BE49-F238E27FC236}">
                <a16:creationId xmlns:a16="http://schemas.microsoft.com/office/drawing/2014/main" id="{722C32B8-F8B7-E134-AD2A-8A58CE4BC7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43015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99" name="Kép 98">
            <a:extLst>
              <a:ext uri="{FF2B5EF4-FFF2-40B4-BE49-F238E27FC236}">
                <a16:creationId xmlns:a16="http://schemas.microsoft.com/office/drawing/2014/main" id="{202110CE-73F5-4B34-A23A-4C90C1B052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82" y="12508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0" name="Kép 99">
            <a:extLst>
              <a:ext uri="{FF2B5EF4-FFF2-40B4-BE49-F238E27FC236}">
                <a16:creationId xmlns:a16="http://schemas.microsoft.com/office/drawing/2014/main" id="{E35946BB-67E0-CA40-3A9B-769D2817B7B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15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1" name="Kép 100">
            <a:extLst>
              <a:ext uri="{FF2B5EF4-FFF2-40B4-BE49-F238E27FC236}">
                <a16:creationId xmlns:a16="http://schemas.microsoft.com/office/drawing/2014/main" id="{1ED09FC0-A321-4318-383D-19FB312648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2" name="Kép 101">
            <a:extLst>
              <a:ext uri="{FF2B5EF4-FFF2-40B4-BE49-F238E27FC236}">
                <a16:creationId xmlns:a16="http://schemas.microsoft.com/office/drawing/2014/main" id="{0FEA7183-9365-7E13-DBA9-3F831C9A73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006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3" name="Kép 102">
            <a:extLst>
              <a:ext uri="{FF2B5EF4-FFF2-40B4-BE49-F238E27FC236}">
                <a16:creationId xmlns:a16="http://schemas.microsoft.com/office/drawing/2014/main" id="{4B11BA8B-AE4C-6E75-C187-2C3406420D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464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4" name="Kép 103">
            <a:extLst>
              <a:ext uri="{FF2B5EF4-FFF2-40B4-BE49-F238E27FC236}">
                <a16:creationId xmlns:a16="http://schemas.microsoft.com/office/drawing/2014/main" id="{7A9287EF-2AD5-E9F9-A703-29A1851C6C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921" y="207182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5" name="Kép 104">
            <a:extLst>
              <a:ext uri="{FF2B5EF4-FFF2-40B4-BE49-F238E27FC236}">
                <a16:creationId xmlns:a16="http://schemas.microsoft.com/office/drawing/2014/main" id="{6D19A102-EFB2-1BD1-F334-C9A962871E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2073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6" name="Kép 105">
            <a:extLst>
              <a:ext uri="{FF2B5EF4-FFF2-40B4-BE49-F238E27FC236}">
                <a16:creationId xmlns:a16="http://schemas.microsoft.com/office/drawing/2014/main" id="{F08541F5-2397-43BD-EB50-CF97842E76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99" y="2073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7" name="Kép 106" descr="A képen szöveg látható&#10;&#10;Automatikusan generált leírás">
            <a:extLst>
              <a:ext uri="{FF2B5EF4-FFF2-40B4-BE49-F238E27FC236}">
                <a16:creationId xmlns:a16="http://schemas.microsoft.com/office/drawing/2014/main" id="{72B1ECB0-E3F7-E639-7C0B-6D709961D0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392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8" name="Kép 107">
            <a:extLst>
              <a:ext uri="{FF2B5EF4-FFF2-40B4-BE49-F238E27FC236}">
                <a16:creationId xmlns:a16="http://schemas.microsoft.com/office/drawing/2014/main" id="{1ADAB414-7948-F6D4-2B8B-4159EF983F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46" y="16619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09" name="Kép 108">
            <a:extLst>
              <a:ext uri="{FF2B5EF4-FFF2-40B4-BE49-F238E27FC236}">
                <a16:creationId xmlns:a16="http://schemas.microsoft.com/office/drawing/2014/main" id="{DDE53F5C-6EA7-8455-4571-6CD4C00A4C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48231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0" name="Kép 109">
            <a:extLst>
              <a:ext uri="{FF2B5EF4-FFF2-40B4-BE49-F238E27FC236}">
                <a16:creationId xmlns:a16="http://schemas.microsoft.com/office/drawing/2014/main" id="{1E832699-A93E-9805-74DE-3F0440F048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372" y="28921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1" name="Kép 110">
            <a:extLst>
              <a:ext uri="{FF2B5EF4-FFF2-40B4-BE49-F238E27FC236}">
                <a16:creationId xmlns:a16="http://schemas.microsoft.com/office/drawing/2014/main" id="{2C52690A-E738-BB68-C812-ED9E0FE070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830" y="28921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2" name="Kép 111">
            <a:extLst>
              <a:ext uri="{FF2B5EF4-FFF2-40B4-BE49-F238E27FC236}">
                <a16:creationId xmlns:a16="http://schemas.microsoft.com/office/drawing/2014/main" id="{76B178E1-DA5F-3D7B-4294-76568444931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552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3" name="Kép 112">
            <a:extLst>
              <a:ext uri="{FF2B5EF4-FFF2-40B4-BE49-F238E27FC236}">
                <a16:creationId xmlns:a16="http://schemas.microsoft.com/office/drawing/2014/main" id="{9F7FBFF2-BB3C-B064-8111-ACB3A89321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201" y="37128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4" name="Kép 113">
            <a:extLst>
              <a:ext uri="{FF2B5EF4-FFF2-40B4-BE49-F238E27FC236}">
                <a16:creationId xmlns:a16="http://schemas.microsoft.com/office/drawing/2014/main" id="{BC41583D-D849-0B0B-A983-168D649EC8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8" y="37128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5" name="Kép 114">
            <a:extLst>
              <a:ext uri="{FF2B5EF4-FFF2-40B4-BE49-F238E27FC236}">
                <a16:creationId xmlns:a16="http://schemas.microsoft.com/office/drawing/2014/main" id="{97E45362-A081-BDA2-C578-F39DC8F151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71411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6" name="Kép 115">
            <a:extLst>
              <a:ext uri="{FF2B5EF4-FFF2-40B4-BE49-F238E27FC236}">
                <a16:creationId xmlns:a16="http://schemas.microsoft.com/office/drawing/2014/main" id="{6BEF3A1E-9778-FD9C-4247-08BA746250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371411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7" name="Kép 116" descr="A képen szöveg látható&#10;&#10;Automatikusan generált leírás">
            <a:extLst>
              <a:ext uri="{FF2B5EF4-FFF2-40B4-BE49-F238E27FC236}">
                <a16:creationId xmlns:a16="http://schemas.microsoft.com/office/drawing/2014/main" id="{526F5F0E-F04B-546F-6FB1-4F00C0176B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8" name="Kép 117">
            <a:extLst>
              <a:ext uri="{FF2B5EF4-FFF2-40B4-BE49-F238E27FC236}">
                <a16:creationId xmlns:a16="http://schemas.microsoft.com/office/drawing/2014/main" id="{A8122671-DBE6-FA3E-8898-8537BA6FEC6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330299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19" name="Kép 118">
            <a:extLst>
              <a:ext uri="{FF2B5EF4-FFF2-40B4-BE49-F238E27FC236}">
                <a16:creationId xmlns:a16="http://schemas.microsoft.com/office/drawing/2014/main" id="{80B27ECB-EFD9-B123-EB7A-74F15398E9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48017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0" name="Kép 119">
            <a:extLst>
              <a:ext uri="{FF2B5EF4-FFF2-40B4-BE49-F238E27FC236}">
                <a16:creationId xmlns:a16="http://schemas.microsoft.com/office/drawing/2014/main" id="{CB469D0A-F451-5514-A8B7-C7C90560E9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48017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1" name="Kép 120">
            <a:extLst>
              <a:ext uri="{FF2B5EF4-FFF2-40B4-BE49-F238E27FC236}">
                <a16:creationId xmlns:a16="http://schemas.microsoft.com/office/drawing/2014/main" id="{DF245388-A4C1-9126-CB45-D50F1C6F498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803" y="28900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2" name="Kép 121">
            <a:extLst>
              <a:ext uri="{FF2B5EF4-FFF2-40B4-BE49-F238E27FC236}">
                <a16:creationId xmlns:a16="http://schemas.microsoft.com/office/drawing/2014/main" id="{D52E3E27-ED71-29DE-9A7E-666233381C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261" y="289004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3" name="Kép 122">
            <a:extLst>
              <a:ext uri="{FF2B5EF4-FFF2-40B4-BE49-F238E27FC236}">
                <a16:creationId xmlns:a16="http://schemas.microsoft.com/office/drawing/2014/main" id="{9AC1DA7D-9FAC-D058-5C18-A472154C77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850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4" name="Kép 123">
            <a:extLst>
              <a:ext uri="{FF2B5EF4-FFF2-40B4-BE49-F238E27FC236}">
                <a16:creationId xmlns:a16="http://schemas.microsoft.com/office/drawing/2014/main" id="{A20E518C-2F81-ACE5-4620-E7AF79981F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5" name="Kép 124">
            <a:extLst>
              <a:ext uri="{FF2B5EF4-FFF2-40B4-BE49-F238E27FC236}">
                <a16:creationId xmlns:a16="http://schemas.microsoft.com/office/drawing/2014/main" id="{2BB19601-E8AD-F430-3B46-3EE3E9BC0E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983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6" name="Kép 125">
            <a:extLst>
              <a:ext uri="{FF2B5EF4-FFF2-40B4-BE49-F238E27FC236}">
                <a16:creationId xmlns:a16="http://schemas.microsoft.com/office/drawing/2014/main" id="{A9958784-5046-8D1D-915F-A079C9F182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7" name="Kép 126">
            <a:extLst>
              <a:ext uri="{FF2B5EF4-FFF2-40B4-BE49-F238E27FC236}">
                <a16:creationId xmlns:a16="http://schemas.microsoft.com/office/drawing/2014/main" id="{53E76517-A5FA-7266-3B20-F6A173E812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174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8" name="Kép 127">
            <a:extLst>
              <a:ext uri="{FF2B5EF4-FFF2-40B4-BE49-F238E27FC236}">
                <a16:creationId xmlns:a16="http://schemas.microsoft.com/office/drawing/2014/main" id="{E6600DCA-3730-8013-1214-252916665FD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632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29" name="Kép 128" descr="A képen szöveg látható&#10;&#10;Automatikusan generált leírás">
            <a:extLst>
              <a:ext uri="{FF2B5EF4-FFF2-40B4-BE49-F238E27FC236}">
                <a16:creationId xmlns:a16="http://schemas.microsoft.com/office/drawing/2014/main" id="{6D17C464-8FB9-3075-08C1-5F200C4C99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0467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0" name="Kép 129">
            <a:extLst>
              <a:ext uri="{FF2B5EF4-FFF2-40B4-BE49-F238E27FC236}">
                <a16:creationId xmlns:a16="http://schemas.microsoft.com/office/drawing/2014/main" id="{1D0D46AA-6163-5E7C-C9FF-EE1E6D134F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221" y="28897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1" name="Kép 130">
            <a:extLst>
              <a:ext uri="{FF2B5EF4-FFF2-40B4-BE49-F238E27FC236}">
                <a16:creationId xmlns:a16="http://schemas.microsoft.com/office/drawing/2014/main" id="{34CF05FF-49B6-5144-9B17-5E204C14BD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089" y="371072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2" name="Kép 131">
            <a:extLst>
              <a:ext uri="{FF2B5EF4-FFF2-40B4-BE49-F238E27FC236}">
                <a16:creationId xmlns:a16="http://schemas.microsoft.com/office/drawing/2014/main" id="{9188FC81-0228-0C0D-51C5-48ECACBEB6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71196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3" name="Kép 132">
            <a:extLst>
              <a:ext uri="{FF2B5EF4-FFF2-40B4-BE49-F238E27FC236}">
                <a16:creationId xmlns:a16="http://schemas.microsoft.com/office/drawing/2014/main" id="{09E984B2-72DE-EC78-1FEE-DFE522B764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371196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4" name="Kép 133" descr="A képen szöveg látható&#10;&#10;Automatikusan generált leírás">
            <a:extLst>
              <a:ext uri="{FF2B5EF4-FFF2-40B4-BE49-F238E27FC236}">
                <a16:creationId xmlns:a16="http://schemas.microsoft.com/office/drawing/2014/main" id="{13F6A84E-7509-2A1C-742B-C5CF44F81C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5" name="Kép 134">
            <a:extLst>
              <a:ext uri="{FF2B5EF4-FFF2-40B4-BE49-F238E27FC236}">
                <a16:creationId xmlns:a16="http://schemas.microsoft.com/office/drawing/2014/main" id="{3B0DE007-F341-4E40-598C-FCD2EE25DD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33008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6" name="Kép 135">
            <a:extLst>
              <a:ext uri="{FF2B5EF4-FFF2-40B4-BE49-F238E27FC236}">
                <a16:creationId xmlns:a16="http://schemas.microsoft.com/office/drawing/2014/main" id="{3CCCAE8E-BBCA-76BD-8E05-C8E5BA1C91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126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7" name="Kép 136">
            <a:extLst>
              <a:ext uri="{FF2B5EF4-FFF2-40B4-BE49-F238E27FC236}">
                <a16:creationId xmlns:a16="http://schemas.microsoft.com/office/drawing/2014/main" id="{D64D72DD-0BF7-0AF0-3B71-E5894CEE52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584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8" name="Kép 137">
            <a:extLst>
              <a:ext uri="{FF2B5EF4-FFF2-40B4-BE49-F238E27FC236}">
                <a16:creationId xmlns:a16="http://schemas.microsoft.com/office/drawing/2014/main" id="{DB84B543-52D1-584F-CFBB-FB07A274A6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041" y="24792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39" name="Kép 138">
            <a:extLst>
              <a:ext uri="{FF2B5EF4-FFF2-40B4-BE49-F238E27FC236}">
                <a16:creationId xmlns:a16="http://schemas.microsoft.com/office/drawing/2014/main" id="{861C8E5C-9F30-B1AE-A5B8-3A90C5F9E6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235" y="412398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0" name="Kép 139">
            <a:extLst>
              <a:ext uri="{FF2B5EF4-FFF2-40B4-BE49-F238E27FC236}">
                <a16:creationId xmlns:a16="http://schemas.microsoft.com/office/drawing/2014/main" id="{783449CC-A3E8-B172-A3BC-52B33A60B5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53607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1" name="Kép 140">
            <a:extLst>
              <a:ext uri="{FF2B5EF4-FFF2-40B4-BE49-F238E27FC236}">
                <a16:creationId xmlns:a16="http://schemas.microsoft.com/office/drawing/2014/main" id="{A5A1D724-AD70-7815-6165-4B7FC18C22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453607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2" name="Kép 141">
            <a:extLst>
              <a:ext uri="{FF2B5EF4-FFF2-40B4-BE49-F238E27FC236}">
                <a16:creationId xmlns:a16="http://schemas.microsoft.com/office/drawing/2014/main" id="{BEBC4CA8-C414-3D37-DD81-B2A46DAC3F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216" y="49459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3" name="Kép 142">
            <a:extLst>
              <a:ext uri="{FF2B5EF4-FFF2-40B4-BE49-F238E27FC236}">
                <a16:creationId xmlns:a16="http://schemas.microsoft.com/office/drawing/2014/main" id="{4F57600E-6760-5410-5217-F6354F64687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674" y="49459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4" name="Kép 143" descr="A képen szöveg látható&#10;&#10;Automatikusan generált leírás">
            <a:extLst>
              <a:ext uri="{FF2B5EF4-FFF2-40B4-BE49-F238E27FC236}">
                <a16:creationId xmlns:a16="http://schemas.microsoft.com/office/drawing/2014/main" id="{D097CD24-4238-F691-92B3-135AFE49BC2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509" y="412496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5" name="Kép 144">
            <a:extLst>
              <a:ext uri="{FF2B5EF4-FFF2-40B4-BE49-F238E27FC236}">
                <a16:creationId xmlns:a16="http://schemas.microsoft.com/office/drawing/2014/main" id="{5DA7A97C-CF0A-DA84-2299-B891013DE28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12496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6" name="Kép 145">
            <a:extLst>
              <a:ext uri="{FF2B5EF4-FFF2-40B4-BE49-F238E27FC236}">
                <a16:creationId xmlns:a16="http://schemas.microsoft.com/office/drawing/2014/main" id="{112C1B18-64E2-9296-44D7-0CB6B7566E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263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7" name="Kép 146">
            <a:extLst>
              <a:ext uri="{FF2B5EF4-FFF2-40B4-BE49-F238E27FC236}">
                <a16:creationId xmlns:a16="http://schemas.microsoft.com/office/drawing/2014/main" id="{6F67E0F0-A63E-AA45-B44F-8ED5203B59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8" name="Kép 147">
            <a:extLst>
              <a:ext uri="{FF2B5EF4-FFF2-40B4-BE49-F238E27FC236}">
                <a16:creationId xmlns:a16="http://schemas.microsoft.com/office/drawing/2014/main" id="{C15AB2FA-EAC1-2E38-0646-031424A39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396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49" name="Kép 148">
            <a:extLst>
              <a:ext uri="{FF2B5EF4-FFF2-40B4-BE49-F238E27FC236}">
                <a16:creationId xmlns:a16="http://schemas.microsoft.com/office/drawing/2014/main" id="{0990EC67-A529-B840-D7B1-71C5D0152C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0" name="Kép 149">
            <a:extLst>
              <a:ext uri="{FF2B5EF4-FFF2-40B4-BE49-F238E27FC236}">
                <a16:creationId xmlns:a16="http://schemas.microsoft.com/office/drawing/2014/main" id="{CE7AA338-DDE3-0863-0345-1109B159BD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587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1" name="Kép 150">
            <a:extLst>
              <a:ext uri="{FF2B5EF4-FFF2-40B4-BE49-F238E27FC236}">
                <a16:creationId xmlns:a16="http://schemas.microsoft.com/office/drawing/2014/main" id="{AD60043F-8345-EA97-BA59-0CDCD7132D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45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2" name="Kép 151" descr="A képen szöveg látható&#10;&#10;Automatikusan generált leírás">
            <a:extLst>
              <a:ext uri="{FF2B5EF4-FFF2-40B4-BE49-F238E27FC236}">
                <a16:creationId xmlns:a16="http://schemas.microsoft.com/office/drawing/2014/main" id="{ACC27F20-E761-F284-8D0B-A073303998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880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3" name="Kép 152">
            <a:extLst>
              <a:ext uri="{FF2B5EF4-FFF2-40B4-BE49-F238E27FC236}">
                <a16:creationId xmlns:a16="http://schemas.microsoft.com/office/drawing/2014/main" id="{C0FBE5BA-532D-5B7F-1A97-1715F465B1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634" y="494563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4" name="Kép 153">
            <a:extLst>
              <a:ext uri="{FF2B5EF4-FFF2-40B4-BE49-F238E27FC236}">
                <a16:creationId xmlns:a16="http://schemas.microsoft.com/office/drawing/2014/main" id="{A93563EA-02C6-B0AD-ED88-CC194A0263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502" y="57666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5" name="Kép 154">
            <a:extLst>
              <a:ext uri="{FF2B5EF4-FFF2-40B4-BE49-F238E27FC236}">
                <a16:creationId xmlns:a16="http://schemas.microsoft.com/office/drawing/2014/main" id="{6AAD8676-470D-549C-3449-8D9C44984B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7678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6" name="Kép 155">
            <a:extLst>
              <a:ext uri="{FF2B5EF4-FFF2-40B4-BE49-F238E27FC236}">
                <a16:creationId xmlns:a16="http://schemas.microsoft.com/office/drawing/2014/main" id="{F1CB2563-9DEF-8673-D871-D90B6F2040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680" y="57678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7" name="Kép 156" descr="A képen szöveg látható&#10;&#10;Automatikusan generált leírás">
            <a:extLst>
              <a:ext uri="{FF2B5EF4-FFF2-40B4-BE49-F238E27FC236}">
                <a16:creationId xmlns:a16="http://schemas.microsoft.com/office/drawing/2014/main" id="{E3F45E25-6462-539F-400C-ECA8B94CCF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973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8" name="Kép 157">
            <a:extLst>
              <a:ext uri="{FF2B5EF4-FFF2-40B4-BE49-F238E27FC236}">
                <a16:creationId xmlns:a16="http://schemas.microsoft.com/office/drawing/2014/main" id="{89759E7D-0C58-6837-9FBD-D5820CA26D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727" y="535675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59" name="Kép 158">
            <a:extLst>
              <a:ext uri="{FF2B5EF4-FFF2-40B4-BE49-F238E27FC236}">
                <a16:creationId xmlns:a16="http://schemas.microsoft.com/office/drawing/2014/main" id="{A82B62C0-B18B-EA6B-D742-44E2476CA9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348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0" name="Kép 159">
            <a:extLst>
              <a:ext uri="{FF2B5EF4-FFF2-40B4-BE49-F238E27FC236}">
                <a16:creationId xmlns:a16="http://schemas.microsoft.com/office/drawing/2014/main" id="{5EF79262-5BF3-C01F-6930-5E0DC165D4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1" name="Kép 160">
            <a:extLst>
              <a:ext uri="{FF2B5EF4-FFF2-40B4-BE49-F238E27FC236}">
                <a16:creationId xmlns:a16="http://schemas.microsoft.com/office/drawing/2014/main" id="{79D51A60-E252-18D7-1595-DC3292BE36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539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2" name="Kép 161">
            <a:extLst>
              <a:ext uri="{FF2B5EF4-FFF2-40B4-BE49-F238E27FC236}">
                <a16:creationId xmlns:a16="http://schemas.microsoft.com/office/drawing/2014/main" id="{83E9ECD2-BD40-B37B-CD38-D9E1C3BE9A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997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3" name="Kép 162">
            <a:extLst>
              <a:ext uri="{FF2B5EF4-FFF2-40B4-BE49-F238E27FC236}">
                <a16:creationId xmlns:a16="http://schemas.microsoft.com/office/drawing/2014/main" id="{2C9CAC1A-0EE6-A453-3359-5B0BB8BBFD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454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4" name="Kép 163">
            <a:extLst>
              <a:ext uri="{FF2B5EF4-FFF2-40B4-BE49-F238E27FC236}">
                <a16:creationId xmlns:a16="http://schemas.microsoft.com/office/drawing/2014/main" id="{069350CE-01A8-5E08-CB5C-B4B405E810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5" name="Kép 164">
            <a:extLst>
              <a:ext uri="{FF2B5EF4-FFF2-40B4-BE49-F238E27FC236}">
                <a16:creationId xmlns:a16="http://schemas.microsoft.com/office/drawing/2014/main" id="{6A93B0B3-A233-FCD1-A7D6-68960538C9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1252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6" name="Kép 165">
            <a:extLst>
              <a:ext uri="{FF2B5EF4-FFF2-40B4-BE49-F238E27FC236}">
                <a16:creationId xmlns:a16="http://schemas.microsoft.com/office/drawing/2014/main" id="{7508D5E1-53AC-BDD3-8197-1DDAA40DDA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273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7" name="Kép 166">
            <a:extLst>
              <a:ext uri="{FF2B5EF4-FFF2-40B4-BE49-F238E27FC236}">
                <a16:creationId xmlns:a16="http://schemas.microsoft.com/office/drawing/2014/main" id="{12B985AD-359C-1A95-7BA7-FD92CB398C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731" y="4535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8" name="Kép 167">
            <a:extLst>
              <a:ext uri="{FF2B5EF4-FFF2-40B4-BE49-F238E27FC236}">
                <a16:creationId xmlns:a16="http://schemas.microsoft.com/office/drawing/2014/main" id="{3FA320A6-B496-1121-7207-877F5FF23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320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69" name="Kép 168">
            <a:extLst>
              <a:ext uri="{FF2B5EF4-FFF2-40B4-BE49-F238E27FC236}">
                <a16:creationId xmlns:a16="http://schemas.microsoft.com/office/drawing/2014/main" id="{34EA58A8-D045-B786-5EF0-042746A48F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0" name="Kép 169">
            <a:extLst>
              <a:ext uri="{FF2B5EF4-FFF2-40B4-BE49-F238E27FC236}">
                <a16:creationId xmlns:a16="http://schemas.microsoft.com/office/drawing/2014/main" id="{D1E9AB40-DEF8-A111-C1F2-CA42A4DF9E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53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1" name="Kép 170">
            <a:extLst>
              <a:ext uri="{FF2B5EF4-FFF2-40B4-BE49-F238E27FC236}">
                <a16:creationId xmlns:a16="http://schemas.microsoft.com/office/drawing/2014/main" id="{6B5701D7-332B-A14A-73B6-DEDE460475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2" name="Kép 171">
            <a:extLst>
              <a:ext uri="{FF2B5EF4-FFF2-40B4-BE49-F238E27FC236}">
                <a16:creationId xmlns:a16="http://schemas.microsoft.com/office/drawing/2014/main" id="{4846AEE3-1FCA-7D1F-69F0-D3ECC5E470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644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3" name="Kép 172">
            <a:extLst>
              <a:ext uri="{FF2B5EF4-FFF2-40B4-BE49-F238E27FC236}">
                <a16:creationId xmlns:a16="http://schemas.microsoft.com/office/drawing/2014/main" id="{B58004AD-9537-D2A7-C563-8CAA945638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102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4" name="Kép 173" descr="A képen szöveg látható&#10;&#10;Automatikusan generált leírás">
            <a:extLst>
              <a:ext uri="{FF2B5EF4-FFF2-40B4-BE49-F238E27FC236}">
                <a16:creationId xmlns:a16="http://schemas.microsoft.com/office/drawing/2014/main" id="{2607E268-7217-4F8B-15C2-F0E85E4B895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8937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5" name="Kép 174">
            <a:extLst>
              <a:ext uri="{FF2B5EF4-FFF2-40B4-BE49-F238E27FC236}">
                <a16:creationId xmlns:a16="http://schemas.microsoft.com/office/drawing/2014/main" id="{844DDD99-D09D-27C8-810F-74CF91B14FA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91" y="453483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6" name="Kép 175">
            <a:extLst>
              <a:ext uri="{FF2B5EF4-FFF2-40B4-BE49-F238E27FC236}">
                <a16:creationId xmlns:a16="http://schemas.microsoft.com/office/drawing/2014/main" id="{C828A95F-7B78-49F0-24AF-F2842112FC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559" y="535582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7" name="Kép 176">
            <a:extLst>
              <a:ext uri="{FF2B5EF4-FFF2-40B4-BE49-F238E27FC236}">
                <a16:creationId xmlns:a16="http://schemas.microsoft.com/office/drawing/2014/main" id="{93F5671D-D3F6-B31B-AA73-91E916D878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53570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8" name="Kép 177">
            <a:extLst>
              <a:ext uri="{FF2B5EF4-FFF2-40B4-BE49-F238E27FC236}">
                <a16:creationId xmlns:a16="http://schemas.microsoft.com/office/drawing/2014/main" id="{B006FE8E-5301-C6F7-A1BE-87BC8AC322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737" y="535706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79" name="Kép 178" descr="A képen szöveg látható&#10;&#10;Automatikusan generált leírás">
            <a:extLst>
              <a:ext uri="{FF2B5EF4-FFF2-40B4-BE49-F238E27FC236}">
                <a16:creationId xmlns:a16="http://schemas.microsoft.com/office/drawing/2014/main" id="{B1D7E656-3B7C-1316-74AC-F207FA72DD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030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0" name="Kép 179">
            <a:extLst>
              <a:ext uri="{FF2B5EF4-FFF2-40B4-BE49-F238E27FC236}">
                <a16:creationId xmlns:a16="http://schemas.microsoft.com/office/drawing/2014/main" id="{6EDCF798-C443-D3F8-3196-CA4D382AE3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784" y="49459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1" name="Kép 180">
            <a:extLst>
              <a:ext uri="{FF2B5EF4-FFF2-40B4-BE49-F238E27FC236}">
                <a16:creationId xmlns:a16="http://schemas.microsoft.com/office/drawing/2014/main" id="{1C188B40-BD0F-58EB-B66A-4E050F1141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8596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2" name="Kép 181">
            <a:extLst>
              <a:ext uri="{FF2B5EF4-FFF2-40B4-BE49-F238E27FC236}">
                <a16:creationId xmlns:a16="http://schemas.microsoft.com/office/drawing/2014/main" id="{CD147B40-B27C-19AE-DEBA-0B1E449BEF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54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3" name="Kép 182">
            <a:extLst>
              <a:ext uri="{FF2B5EF4-FFF2-40B4-BE49-F238E27FC236}">
                <a16:creationId xmlns:a16="http://schemas.microsoft.com/office/drawing/2014/main" id="{93368C52-AB09-8753-E650-973BE7AE80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5511" y="412433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4" name="Kép 183">
            <a:extLst>
              <a:ext uri="{FF2B5EF4-FFF2-40B4-BE49-F238E27FC236}">
                <a16:creationId xmlns:a16="http://schemas.microsoft.com/office/drawing/2014/main" id="{2BA24091-6096-2D8B-083A-E86FD01B36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61771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5" name="Kép 184">
            <a:extLst>
              <a:ext uri="{FF2B5EF4-FFF2-40B4-BE49-F238E27FC236}">
                <a16:creationId xmlns:a16="http://schemas.microsoft.com/office/drawing/2014/main" id="{2BB1A4C2-81C9-D978-6C2E-1CB7284197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953" y="61771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6" name="Kép 185" descr="A képen szöveg látható&#10;&#10;Automatikusan generált leírás">
            <a:extLst>
              <a:ext uri="{FF2B5EF4-FFF2-40B4-BE49-F238E27FC236}">
                <a16:creationId xmlns:a16="http://schemas.microsoft.com/office/drawing/2014/main" id="{D57A077A-9ECC-63D3-AF4A-D057C74783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246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7" name="Kép 186">
            <a:extLst>
              <a:ext uri="{FF2B5EF4-FFF2-40B4-BE49-F238E27FC236}">
                <a16:creationId xmlns:a16="http://schemas.microsoft.com/office/drawing/2014/main" id="{1E6CFA2A-70EA-6712-2425-B6A13C1395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000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8" name="Kép 187">
            <a:extLst>
              <a:ext uri="{FF2B5EF4-FFF2-40B4-BE49-F238E27FC236}">
                <a16:creationId xmlns:a16="http://schemas.microsoft.com/office/drawing/2014/main" id="{5A4A7FC2-8650-C51D-1F8A-8F3C36DA01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85" y="57663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89" name="Kép 188">
            <a:extLst>
              <a:ext uri="{FF2B5EF4-FFF2-40B4-BE49-F238E27FC236}">
                <a16:creationId xmlns:a16="http://schemas.microsoft.com/office/drawing/2014/main" id="{380272A7-2526-CBF8-AD6A-E270B59250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57663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0" name="Kép 189">
            <a:extLst>
              <a:ext uri="{FF2B5EF4-FFF2-40B4-BE49-F238E27FC236}">
                <a16:creationId xmlns:a16="http://schemas.microsoft.com/office/drawing/2014/main" id="{B85A0B4C-2F6A-4C44-1104-45D51D3413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276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1" name="Kép 190">
            <a:extLst>
              <a:ext uri="{FF2B5EF4-FFF2-40B4-BE49-F238E27FC236}">
                <a16:creationId xmlns:a16="http://schemas.microsoft.com/office/drawing/2014/main" id="{DA6AF811-91F8-5381-C027-E9CF678D72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734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2" name="Kép 191">
            <a:extLst>
              <a:ext uri="{FF2B5EF4-FFF2-40B4-BE49-F238E27FC236}">
                <a16:creationId xmlns:a16="http://schemas.microsoft.com/office/drawing/2014/main" id="{2A991854-98DA-6777-0720-556D5DB43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91" y="61761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3" name="Kép 192">
            <a:extLst>
              <a:ext uri="{FF2B5EF4-FFF2-40B4-BE49-F238E27FC236}">
                <a16:creationId xmlns:a16="http://schemas.microsoft.com/office/drawing/2014/main" id="{C69A0753-270F-C316-66A1-DCAFB6DE57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8431" y="61749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4" name="Kép 193">
            <a:extLst>
              <a:ext uri="{FF2B5EF4-FFF2-40B4-BE49-F238E27FC236}">
                <a16:creationId xmlns:a16="http://schemas.microsoft.com/office/drawing/2014/main" id="{37F01C3B-21D7-372A-6361-B32549178B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84" y="61749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5" name="Kép 194">
            <a:extLst>
              <a:ext uri="{FF2B5EF4-FFF2-40B4-BE49-F238E27FC236}">
                <a16:creationId xmlns:a16="http://schemas.microsoft.com/office/drawing/2014/main" id="{D951DCB9-D17C-F577-79C2-62FA4F4F60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707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6" name="Kép 195">
            <a:extLst>
              <a:ext uri="{FF2B5EF4-FFF2-40B4-BE49-F238E27FC236}">
                <a16:creationId xmlns:a16="http://schemas.microsoft.com/office/drawing/2014/main" id="{A60F1006-E595-5260-B8C5-2FC789B9D2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165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7" name="Kép 196">
            <a:extLst>
              <a:ext uri="{FF2B5EF4-FFF2-40B4-BE49-F238E27FC236}">
                <a16:creationId xmlns:a16="http://schemas.microsoft.com/office/drawing/2014/main" id="{38DCFD21-AD41-6744-2837-8E7B4E57F6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8622" y="617404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8" name="Kép 197">
            <a:extLst>
              <a:ext uri="{FF2B5EF4-FFF2-40B4-BE49-F238E27FC236}">
                <a16:creationId xmlns:a16="http://schemas.microsoft.com/office/drawing/2014/main" id="{255A34AE-5DB7-312A-93BC-69B1180B24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6960" y="576600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199" name="Kép 198">
            <a:extLst>
              <a:ext uri="{FF2B5EF4-FFF2-40B4-BE49-F238E27FC236}">
                <a16:creationId xmlns:a16="http://schemas.microsoft.com/office/drawing/2014/main" id="{E86D89DE-D164-D680-7D4A-0F00EFB66F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408" y="53690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0" name="Kép 199">
            <a:extLst>
              <a:ext uri="{FF2B5EF4-FFF2-40B4-BE49-F238E27FC236}">
                <a16:creationId xmlns:a16="http://schemas.microsoft.com/office/drawing/2014/main" id="{6136383C-5DD0-C374-A540-1EB84802F6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7811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1" name="Kép 200">
            <a:extLst>
              <a:ext uri="{FF2B5EF4-FFF2-40B4-BE49-F238E27FC236}">
                <a16:creationId xmlns:a16="http://schemas.microsoft.com/office/drawing/2014/main" id="{17E35F1B-6FF5-7933-3121-27C99A40A6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57811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2" name="Kép 201">
            <a:extLst>
              <a:ext uri="{FF2B5EF4-FFF2-40B4-BE49-F238E27FC236}">
                <a16:creationId xmlns:a16="http://schemas.microsoft.com/office/drawing/2014/main" id="{98250401-4623-5C92-6513-7434CFDE1F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389" y="619105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3" name="Kép 202">
            <a:extLst>
              <a:ext uri="{FF2B5EF4-FFF2-40B4-BE49-F238E27FC236}">
                <a16:creationId xmlns:a16="http://schemas.microsoft.com/office/drawing/2014/main" id="{735F9562-17A4-259F-095A-B4B420C1F2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47" y="619105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4" name="Kép 203" descr="A képen szöveg látható&#10;&#10;Automatikusan generált leírás">
            <a:extLst>
              <a:ext uri="{FF2B5EF4-FFF2-40B4-BE49-F238E27FC236}">
                <a16:creationId xmlns:a16="http://schemas.microsoft.com/office/drawing/2014/main" id="{9EF110CA-6B4D-C8AC-C058-79A9A2AAD5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682" y="53700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5" name="Kép 204">
            <a:extLst>
              <a:ext uri="{FF2B5EF4-FFF2-40B4-BE49-F238E27FC236}">
                <a16:creationId xmlns:a16="http://schemas.microsoft.com/office/drawing/2014/main" id="{AD657560-4E0B-86F4-3141-3BC6582514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53700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6" name="Kép 205">
            <a:extLst>
              <a:ext uri="{FF2B5EF4-FFF2-40B4-BE49-F238E27FC236}">
                <a16:creationId xmlns:a16="http://schemas.microsoft.com/office/drawing/2014/main" id="{F0D3972D-2D4F-6139-0012-2F0928887D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436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7" name="Kép 206" descr="A képen szöveg látható&#10;&#10;Automatikusan generált leírás">
            <a:extLst>
              <a:ext uri="{FF2B5EF4-FFF2-40B4-BE49-F238E27FC236}">
                <a16:creationId xmlns:a16="http://schemas.microsoft.com/office/drawing/2014/main" id="{5B5A8EC6-1F4E-A0B2-86CA-8CCB3336E59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053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8" name="Kép 207">
            <a:extLst>
              <a:ext uri="{FF2B5EF4-FFF2-40B4-BE49-F238E27FC236}">
                <a16:creationId xmlns:a16="http://schemas.microsoft.com/office/drawing/2014/main" id="{FC7FAB8A-B24D-A93C-FC46-6851D380BE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807" y="619074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09" name="Kép 208">
            <a:extLst>
              <a:ext uri="{FF2B5EF4-FFF2-40B4-BE49-F238E27FC236}">
                <a16:creationId xmlns:a16="http://schemas.microsoft.com/office/drawing/2014/main" id="{E041CFB6-8DF7-049A-07FE-508C02F62FB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521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0" name="Kép 209">
            <a:extLst>
              <a:ext uri="{FF2B5EF4-FFF2-40B4-BE49-F238E27FC236}">
                <a16:creationId xmlns:a16="http://schemas.microsoft.com/office/drawing/2014/main" id="{846D62F5-5145-CFB3-8DB0-23C86135369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1" name="Kép 210">
            <a:extLst>
              <a:ext uri="{FF2B5EF4-FFF2-40B4-BE49-F238E27FC236}">
                <a16:creationId xmlns:a16="http://schemas.microsoft.com/office/drawing/2014/main" id="{D5D2A7A4-FF19-E09E-CCEA-5DA77A5A50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712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2" name="Kép 211">
            <a:extLst>
              <a:ext uri="{FF2B5EF4-FFF2-40B4-BE49-F238E27FC236}">
                <a16:creationId xmlns:a16="http://schemas.microsoft.com/office/drawing/2014/main" id="{D2C670D0-0CA5-FA7C-101F-3B0A12E9EC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170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3" name="Kép 212">
            <a:extLst>
              <a:ext uri="{FF2B5EF4-FFF2-40B4-BE49-F238E27FC236}">
                <a16:creationId xmlns:a16="http://schemas.microsoft.com/office/drawing/2014/main" id="{04D620D1-7338-B6D9-12BD-92F8AD0E90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627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4" name="Kép 213">
            <a:extLst>
              <a:ext uri="{FF2B5EF4-FFF2-40B4-BE49-F238E27FC236}">
                <a16:creationId xmlns:a16="http://schemas.microsoft.com/office/drawing/2014/main" id="{413695AE-C30B-500C-3C23-5DAD1431B7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5" name="Kép 214">
            <a:extLst>
              <a:ext uri="{FF2B5EF4-FFF2-40B4-BE49-F238E27FC236}">
                <a16:creationId xmlns:a16="http://schemas.microsoft.com/office/drawing/2014/main" id="{6B012769-38E0-8BE2-3E18-01ED429885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3703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6" name="Kép 215">
            <a:extLst>
              <a:ext uri="{FF2B5EF4-FFF2-40B4-BE49-F238E27FC236}">
                <a16:creationId xmlns:a16="http://schemas.microsoft.com/office/drawing/2014/main" id="{8DC6B75C-7FE7-E329-56D7-C7128238AF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46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7" name="Kép 216">
            <a:extLst>
              <a:ext uri="{FF2B5EF4-FFF2-40B4-BE49-F238E27FC236}">
                <a16:creationId xmlns:a16="http://schemas.microsoft.com/office/drawing/2014/main" id="{A6C93777-0D06-AABE-C333-304D00B84A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904" y="57802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8" name="Kép 217">
            <a:extLst>
              <a:ext uri="{FF2B5EF4-FFF2-40B4-BE49-F238E27FC236}">
                <a16:creationId xmlns:a16="http://schemas.microsoft.com/office/drawing/2014/main" id="{29F32A5F-41A6-85B9-3F1B-CEDBC05C9F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493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19" name="Kép 218">
            <a:extLst>
              <a:ext uri="{FF2B5EF4-FFF2-40B4-BE49-F238E27FC236}">
                <a16:creationId xmlns:a16="http://schemas.microsoft.com/office/drawing/2014/main" id="{0A43B625-7B7E-D971-2E45-F84AC08282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0" name="Kép 219">
            <a:extLst>
              <a:ext uri="{FF2B5EF4-FFF2-40B4-BE49-F238E27FC236}">
                <a16:creationId xmlns:a16="http://schemas.microsoft.com/office/drawing/2014/main" id="{1167C39D-7288-0746-ABF7-587583FF8A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626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1" name="Kép 220">
            <a:extLst>
              <a:ext uri="{FF2B5EF4-FFF2-40B4-BE49-F238E27FC236}">
                <a16:creationId xmlns:a16="http://schemas.microsoft.com/office/drawing/2014/main" id="{0C78B85A-62B7-6A56-8298-9863969DE3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817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2" name="Kép 221" descr="A képen szöveg látható&#10;&#10;Automatikusan generált leírás">
            <a:extLst>
              <a:ext uri="{FF2B5EF4-FFF2-40B4-BE49-F238E27FC236}">
                <a16:creationId xmlns:a16="http://schemas.microsoft.com/office/drawing/2014/main" id="{30F3DC33-AA1D-3D43-F173-89D4BBA570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110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3" name="Kép 222">
            <a:extLst>
              <a:ext uri="{FF2B5EF4-FFF2-40B4-BE49-F238E27FC236}">
                <a16:creationId xmlns:a16="http://schemas.microsoft.com/office/drawing/2014/main" id="{B1855FC9-BB4C-A259-D8F5-520973051D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864" y="577993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4" name="Kép 223" descr="A képen szöveg látható&#10;&#10;Automatikusan generált leírás">
            <a:extLst>
              <a:ext uri="{FF2B5EF4-FFF2-40B4-BE49-F238E27FC236}">
                <a16:creationId xmlns:a16="http://schemas.microsoft.com/office/drawing/2014/main" id="{5CF4AC45-4393-52B3-0A56-65B3F40DC56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203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5" name="Kép 224">
            <a:extLst>
              <a:ext uri="{FF2B5EF4-FFF2-40B4-BE49-F238E27FC236}">
                <a16:creationId xmlns:a16="http://schemas.microsoft.com/office/drawing/2014/main" id="{9CE05D85-53FB-4282-4749-CF86C45560B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957" y="619105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6" name="Kép 225">
            <a:extLst>
              <a:ext uri="{FF2B5EF4-FFF2-40B4-BE49-F238E27FC236}">
                <a16:creationId xmlns:a16="http://schemas.microsoft.com/office/drawing/2014/main" id="{D0671F45-EEFE-CC3D-5302-D180C18FFB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769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7" name="Kép 226">
            <a:extLst>
              <a:ext uri="{FF2B5EF4-FFF2-40B4-BE49-F238E27FC236}">
                <a16:creationId xmlns:a16="http://schemas.microsoft.com/office/drawing/2014/main" id="{A9F56553-1BFB-222D-148B-00BEAA3EF4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227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8" name="Kép 227">
            <a:extLst>
              <a:ext uri="{FF2B5EF4-FFF2-40B4-BE49-F238E27FC236}">
                <a16:creationId xmlns:a16="http://schemas.microsoft.com/office/drawing/2014/main" id="{87F36616-F9A4-6996-11E3-A26A8C72C5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84" y="536944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29" name="Kép 228">
            <a:extLst>
              <a:ext uri="{FF2B5EF4-FFF2-40B4-BE49-F238E27FC236}">
                <a16:creationId xmlns:a16="http://schemas.microsoft.com/office/drawing/2014/main" id="{43C4869F-C0F3-164D-294A-94F5B5C126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613" y="16593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0" name="Kép 229">
            <a:extLst>
              <a:ext uri="{FF2B5EF4-FFF2-40B4-BE49-F238E27FC236}">
                <a16:creationId xmlns:a16="http://schemas.microsoft.com/office/drawing/2014/main" id="{63D64904-B8FF-486E-9572-EA358B817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0714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1" name="Kép 230">
            <a:extLst>
              <a:ext uri="{FF2B5EF4-FFF2-40B4-BE49-F238E27FC236}">
                <a16:creationId xmlns:a16="http://schemas.microsoft.com/office/drawing/2014/main" id="{6486221A-D73B-3553-95C6-1DA4B2BC1D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07146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2" name="Kép 231">
            <a:extLst>
              <a:ext uri="{FF2B5EF4-FFF2-40B4-BE49-F238E27FC236}">
                <a16:creationId xmlns:a16="http://schemas.microsoft.com/office/drawing/2014/main" id="{8D95F09D-7FB2-31CF-B25E-43C2E96FFE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94" y="248134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3" name="Kép 232" descr="A képen szöveg látható&#10;&#10;Automatikusan generált leírás">
            <a:extLst>
              <a:ext uri="{FF2B5EF4-FFF2-40B4-BE49-F238E27FC236}">
                <a16:creationId xmlns:a16="http://schemas.microsoft.com/office/drawing/2014/main" id="{18E21078-A82C-527F-BC00-0E30C7ACDA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887" y="16603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4" name="Kép 233">
            <a:extLst>
              <a:ext uri="{FF2B5EF4-FFF2-40B4-BE49-F238E27FC236}">
                <a16:creationId xmlns:a16="http://schemas.microsoft.com/office/drawing/2014/main" id="{2908FCD5-2F6D-5B25-2F44-6DB1D1C8A84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166035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5" name="Kép 234">
            <a:extLst>
              <a:ext uri="{FF2B5EF4-FFF2-40B4-BE49-F238E27FC236}">
                <a16:creationId xmlns:a16="http://schemas.microsoft.com/office/drawing/2014/main" id="{CD6F3705-E927-AFAA-9A54-8E832423B8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41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6" name="Kép 235">
            <a:extLst>
              <a:ext uri="{FF2B5EF4-FFF2-40B4-BE49-F238E27FC236}">
                <a16:creationId xmlns:a16="http://schemas.microsoft.com/office/drawing/2014/main" id="{5E499AC3-C50C-A6D3-E4C5-71ED28F4A8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7" name="Kép 236">
            <a:extLst>
              <a:ext uri="{FF2B5EF4-FFF2-40B4-BE49-F238E27FC236}">
                <a16:creationId xmlns:a16="http://schemas.microsoft.com/office/drawing/2014/main" id="{A6F1E931-E548-2088-B625-9305C116178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774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8" name="Kép 237">
            <a:extLst>
              <a:ext uri="{FF2B5EF4-FFF2-40B4-BE49-F238E27FC236}">
                <a16:creationId xmlns:a16="http://schemas.microsoft.com/office/drawing/2014/main" id="{8A03643D-5A78-D232-DF25-3587997C29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289214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39" name="Kép 238">
            <a:extLst>
              <a:ext uri="{FF2B5EF4-FFF2-40B4-BE49-F238E27FC236}">
                <a16:creationId xmlns:a16="http://schemas.microsoft.com/office/drawing/2014/main" id="{EF04D618-9579-9779-653F-76D87A080D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965" y="33020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0" name="Kép 239">
            <a:extLst>
              <a:ext uri="{FF2B5EF4-FFF2-40B4-BE49-F238E27FC236}">
                <a16:creationId xmlns:a16="http://schemas.microsoft.com/office/drawing/2014/main" id="{78AF3C0D-2654-CE36-89D3-0AC400B55D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" y="330201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1" name="Kép 240" descr="A képen szöveg látható&#10;&#10;Automatikusan generált leírás">
            <a:extLst>
              <a:ext uri="{FF2B5EF4-FFF2-40B4-BE49-F238E27FC236}">
                <a16:creationId xmlns:a16="http://schemas.microsoft.com/office/drawing/2014/main" id="{CEC83F09-E0A1-8148-42BC-07FC531ED8E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258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2" name="Kép 241">
            <a:extLst>
              <a:ext uri="{FF2B5EF4-FFF2-40B4-BE49-F238E27FC236}">
                <a16:creationId xmlns:a16="http://schemas.microsoft.com/office/drawing/2014/main" id="{0F9641BD-F1A9-5E50-F063-CFE908FC64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12" y="248102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3" name="Kép 242">
            <a:extLst>
              <a:ext uri="{FF2B5EF4-FFF2-40B4-BE49-F238E27FC236}">
                <a16:creationId xmlns:a16="http://schemas.microsoft.com/office/drawing/2014/main" id="{EC28D892-A9ED-546C-D5E8-2CE4F8B13A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726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4" name="Kép 243">
            <a:extLst>
              <a:ext uri="{FF2B5EF4-FFF2-40B4-BE49-F238E27FC236}">
                <a16:creationId xmlns:a16="http://schemas.microsoft.com/office/drawing/2014/main" id="{78162C16-79DB-9B71-FACE-865BF06F76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5" name="Kép 244">
            <a:extLst>
              <a:ext uri="{FF2B5EF4-FFF2-40B4-BE49-F238E27FC236}">
                <a16:creationId xmlns:a16="http://schemas.microsoft.com/office/drawing/2014/main" id="{B2C4461E-17FA-17FF-2AF7-0348B824587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917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6" name="Kép 245">
            <a:extLst>
              <a:ext uri="{FF2B5EF4-FFF2-40B4-BE49-F238E27FC236}">
                <a16:creationId xmlns:a16="http://schemas.microsoft.com/office/drawing/2014/main" id="{1D085179-85A6-7C49-38F4-BDFDF636C6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375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7" name="Kép 246">
            <a:extLst>
              <a:ext uri="{FF2B5EF4-FFF2-40B4-BE49-F238E27FC236}">
                <a16:creationId xmlns:a16="http://schemas.microsoft.com/office/drawing/2014/main" id="{2FD88D82-5F0D-4A17-1333-A65EF21944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832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8" name="Kép 247">
            <a:extLst>
              <a:ext uri="{FF2B5EF4-FFF2-40B4-BE49-F238E27FC236}">
                <a16:creationId xmlns:a16="http://schemas.microsoft.com/office/drawing/2014/main" id="{563DE8AD-9544-3E41-5C88-C85F53EB92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49" name="Kép 248">
            <a:extLst>
              <a:ext uri="{FF2B5EF4-FFF2-40B4-BE49-F238E27FC236}">
                <a16:creationId xmlns:a16="http://schemas.microsoft.com/office/drawing/2014/main" id="{1BC7AE16-77DF-F5E3-7967-055184EB8D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1660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0" name="Kép 249">
            <a:extLst>
              <a:ext uri="{FF2B5EF4-FFF2-40B4-BE49-F238E27FC236}">
                <a16:creationId xmlns:a16="http://schemas.microsoft.com/office/drawing/2014/main" id="{25FDEE26-0973-92EF-7CBA-D0D9E4D741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651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1" name="Kép 250">
            <a:extLst>
              <a:ext uri="{FF2B5EF4-FFF2-40B4-BE49-F238E27FC236}">
                <a16:creationId xmlns:a16="http://schemas.microsoft.com/office/drawing/2014/main" id="{F9F39B97-D18C-AFF5-E85B-C42A08ED9D3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109" y="2070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2" name="Kép 251">
            <a:extLst>
              <a:ext uri="{FF2B5EF4-FFF2-40B4-BE49-F238E27FC236}">
                <a16:creationId xmlns:a16="http://schemas.microsoft.com/office/drawing/2014/main" id="{988A1FA6-3E3A-2858-98A2-0723F87B1B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698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3" name="Kép 252">
            <a:extLst>
              <a:ext uri="{FF2B5EF4-FFF2-40B4-BE49-F238E27FC236}">
                <a16:creationId xmlns:a16="http://schemas.microsoft.com/office/drawing/2014/main" id="{BD4BE126-D9D0-49A5-0D5E-13928EF629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4" name="Kép 253">
            <a:extLst>
              <a:ext uri="{FF2B5EF4-FFF2-40B4-BE49-F238E27FC236}">
                <a16:creationId xmlns:a16="http://schemas.microsoft.com/office/drawing/2014/main" id="{366760B3-EC7C-D4A0-8AF5-3E6AEB505CD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831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5" name="Kép 254">
            <a:extLst>
              <a:ext uri="{FF2B5EF4-FFF2-40B4-BE49-F238E27FC236}">
                <a16:creationId xmlns:a16="http://schemas.microsoft.com/office/drawing/2014/main" id="{2D221BE7-6BEC-C1D6-39B8-95EF5A9095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6" name="Kép 255">
            <a:extLst>
              <a:ext uri="{FF2B5EF4-FFF2-40B4-BE49-F238E27FC236}">
                <a16:creationId xmlns:a16="http://schemas.microsoft.com/office/drawing/2014/main" id="{2233CDB9-B7DE-B0A7-CB84-52778E6975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022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7" name="Kép 256">
            <a:extLst>
              <a:ext uri="{FF2B5EF4-FFF2-40B4-BE49-F238E27FC236}">
                <a16:creationId xmlns:a16="http://schemas.microsoft.com/office/drawing/2014/main" id="{C7850338-6B21-5C39-E242-424E596EF0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480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8" name="Kép 257" descr="A képen szöveg látható&#10;&#10;Automatikusan generált leírás">
            <a:extLst>
              <a:ext uri="{FF2B5EF4-FFF2-40B4-BE49-F238E27FC236}">
                <a16:creationId xmlns:a16="http://schemas.microsoft.com/office/drawing/2014/main" id="{5A273B66-D43E-F5EA-55DC-01AF65A7CCC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315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59" name="Kép 258">
            <a:extLst>
              <a:ext uri="{FF2B5EF4-FFF2-40B4-BE49-F238E27FC236}">
                <a16:creationId xmlns:a16="http://schemas.microsoft.com/office/drawing/2014/main" id="{AE6C3D58-FCEB-1039-BB72-6844A8EDF6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069" y="2070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0" name="Kép 259">
            <a:extLst>
              <a:ext uri="{FF2B5EF4-FFF2-40B4-BE49-F238E27FC236}">
                <a16:creationId xmlns:a16="http://schemas.microsoft.com/office/drawing/2014/main" id="{C62319E9-2370-C74D-1B7F-01CB5E1F23E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937" y="2891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1" name="Kép 260">
            <a:extLst>
              <a:ext uri="{FF2B5EF4-FFF2-40B4-BE49-F238E27FC236}">
                <a16:creationId xmlns:a16="http://schemas.microsoft.com/office/drawing/2014/main" id="{9EB92182-4BAD-8D04-6004-B1AF3F7206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892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2" name="Kép 261">
            <a:extLst>
              <a:ext uri="{FF2B5EF4-FFF2-40B4-BE49-F238E27FC236}">
                <a16:creationId xmlns:a16="http://schemas.microsoft.com/office/drawing/2014/main" id="{ECA366C6-18D2-1826-8558-D6E0B3B684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115" y="2892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3" name="Kép 262" descr="A képen szöveg látható&#10;&#10;Automatikusan generált leírás">
            <a:extLst>
              <a:ext uri="{FF2B5EF4-FFF2-40B4-BE49-F238E27FC236}">
                <a16:creationId xmlns:a16="http://schemas.microsoft.com/office/drawing/2014/main" id="{426D36C5-27CF-52FA-5623-3A0EAFC87B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408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4" name="Kép 263">
            <a:extLst>
              <a:ext uri="{FF2B5EF4-FFF2-40B4-BE49-F238E27FC236}">
                <a16:creationId xmlns:a16="http://schemas.microsoft.com/office/drawing/2014/main" id="{48E9DA07-0540-0D9B-7E90-1B94125A24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162" y="2481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5" name="Kép 264">
            <a:extLst>
              <a:ext uri="{FF2B5EF4-FFF2-40B4-BE49-F238E27FC236}">
                <a16:creationId xmlns:a16="http://schemas.microsoft.com/office/drawing/2014/main" id="{1798701C-41A7-7F5C-B401-2DFE9503DB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974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6" name="Kép 265">
            <a:extLst>
              <a:ext uri="{FF2B5EF4-FFF2-40B4-BE49-F238E27FC236}">
                <a16:creationId xmlns:a16="http://schemas.microsoft.com/office/drawing/2014/main" id="{A2E04188-3D43-B6A0-7FD7-71B9251ECD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432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7" name="Kép 266">
            <a:extLst>
              <a:ext uri="{FF2B5EF4-FFF2-40B4-BE49-F238E27FC236}">
                <a16:creationId xmlns:a16="http://schemas.microsoft.com/office/drawing/2014/main" id="{E3205D35-A533-9D77-20E0-1E67954CB5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889" y="1659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8" name="Kép 267">
            <a:extLst>
              <a:ext uri="{FF2B5EF4-FFF2-40B4-BE49-F238E27FC236}">
                <a16:creationId xmlns:a16="http://schemas.microsoft.com/office/drawing/2014/main" id="{84866115-A75A-63FC-A174-3AEDF8072F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71251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69" name="Kép 268">
            <a:extLst>
              <a:ext uri="{FF2B5EF4-FFF2-40B4-BE49-F238E27FC236}">
                <a16:creationId xmlns:a16="http://schemas.microsoft.com/office/drawing/2014/main" id="{02FC5EDA-E572-791B-62BD-A097327271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371251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0" name="Kép 269">
            <a:extLst>
              <a:ext uri="{FF2B5EF4-FFF2-40B4-BE49-F238E27FC236}">
                <a16:creationId xmlns:a16="http://schemas.microsoft.com/office/drawing/2014/main" id="{928CDF28-48ED-F3A7-73BE-B1BC1F867B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331" y="41223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1" name="Kép 270">
            <a:extLst>
              <a:ext uri="{FF2B5EF4-FFF2-40B4-BE49-F238E27FC236}">
                <a16:creationId xmlns:a16="http://schemas.microsoft.com/office/drawing/2014/main" id="{CE04A7B3-9E82-D12D-D742-5A7BE545A7C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89" y="41223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2" name="Kép 271" descr="A képen szöveg látható&#10;&#10;Automatikusan generált leírás">
            <a:extLst>
              <a:ext uri="{FF2B5EF4-FFF2-40B4-BE49-F238E27FC236}">
                <a16:creationId xmlns:a16="http://schemas.microsoft.com/office/drawing/2014/main" id="{5DC5D01F-7E07-9239-A2AE-2A988D0409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624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3" name="Kép 272">
            <a:extLst>
              <a:ext uri="{FF2B5EF4-FFF2-40B4-BE49-F238E27FC236}">
                <a16:creationId xmlns:a16="http://schemas.microsoft.com/office/drawing/2014/main" id="{8C01168B-4489-4C96-FEA0-15F55C4493B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4" name="Kép 273">
            <a:extLst>
              <a:ext uri="{FF2B5EF4-FFF2-40B4-BE49-F238E27FC236}">
                <a16:creationId xmlns:a16="http://schemas.microsoft.com/office/drawing/2014/main" id="{00BF7DEE-8C4B-AB87-66E5-720B28D632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6378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5" name="Kép 274">
            <a:extLst>
              <a:ext uri="{FF2B5EF4-FFF2-40B4-BE49-F238E27FC236}">
                <a16:creationId xmlns:a16="http://schemas.microsoft.com/office/drawing/2014/main" id="{014C05F3-BF94-2400-A1DB-DEAA9D728C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6" name="Kép 275">
            <a:extLst>
              <a:ext uri="{FF2B5EF4-FFF2-40B4-BE49-F238E27FC236}">
                <a16:creationId xmlns:a16="http://schemas.microsoft.com/office/drawing/2014/main" id="{49D6BA21-730F-C57B-5E7E-3BD07D1DF85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511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7" name="Kép 276">
            <a:extLst>
              <a:ext uri="{FF2B5EF4-FFF2-40B4-BE49-F238E27FC236}">
                <a16:creationId xmlns:a16="http://schemas.microsoft.com/office/drawing/2014/main" id="{DB36562D-2ED1-2466-AB72-6778B94E6F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8" name="Kép 277">
            <a:extLst>
              <a:ext uri="{FF2B5EF4-FFF2-40B4-BE49-F238E27FC236}">
                <a16:creationId xmlns:a16="http://schemas.microsoft.com/office/drawing/2014/main" id="{A8BD4E95-44A4-1EF1-C0A5-A4306BF148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702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79" name="Kép 278">
            <a:extLst>
              <a:ext uri="{FF2B5EF4-FFF2-40B4-BE49-F238E27FC236}">
                <a16:creationId xmlns:a16="http://schemas.microsoft.com/office/drawing/2014/main" id="{49801BA2-B6BC-0C8F-7A6B-37DED04D03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160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0" name="Kép 279" descr="A képen szöveg látható&#10;&#10;Automatikusan generált leírás">
            <a:extLst>
              <a:ext uri="{FF2B5EF4-FFF2-40B4-BE49-F238E27FC236}">
                <a16:creationId xmlns:a16="http://schemas.microsoft.com/office/drawing/2014/main" id="{EE569094-7993-ED24-F1EF-356E31B084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995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1" name="Kép 280">
            <a:extLst>
              <a:ext uri="{FF2B5EF4-FFF2-40B4-BE49-F238E27FC236}">
                <a16:creationId xmlns:a16="http://schemas.microsoft.com/office/drawing/2014/main" id="{91A0B1B8-0F16-948F-F22C-2DA870D258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749" y="412207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2" name="Kép 281">
            <a:extLst>
              <a:ext uri="{FF2B5EF4-FFF2-40B4-BE49-F238E27FC236}">
                <a16:creationId xmlns:a16="http://schemas.microsoft.com/office/drawing/2014/main" id="{D987168C-C0BC-7DB9-153A-13F21367BF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17" y="49430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3" name="Kép 282" descr="A képen szöveg látható&#10;&#10;Automatikusan generált leírás">
            <a:extLst>
              <a:ext uri="{FF2B5EF4-FFF2-40B4-BE49-F238E27FC236}">
                <a16:creationId xmlns:a16="http://schemas.microsoft.com/office/drawing/2014/main" id="{B169D64A-584E-FAC1-3602-B37D2C484D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88" y="453318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4" name="Kép 283">
            <a:extLst>
              <a:ext uri="{FF2B5EF4-FFF2-40B4-BE49-F238E27FC236}">
                <a16:creationId xmlns:a16="http://schemas.microsoft.com/office/drawing/2014/main" id="{541B6207-152B-7A9E-61B4-71E3461595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9463" y="330170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5" name="Kép 284">
            <a:extLst>
              <a:ext uri="{FF2B5EF4-FFF2-40B4-BE49-F238E27FC236}">
                <a16:creationId xmlns:a16="http://schemas.microsoft.com/office/drawing/2014/main" id="{4C0B85DF-D921-C649-81E0-A250346242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30170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6" name="Kép 285">
            <a:extLst>
              <a:ext uri="{FF2B5EF4-FFF2-40B4-BE49-F238E27FC236}">
                <a16:creationId xmlns:a16="http://schemas.microsoft.com/office/drawing/2014/main" id="{BBF0743D-DBC4-D58F-4484-1ECD15AD1C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654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7" name="Kép 286">
            <a:extLst>
              <a:ext uri="{FF2B5EF4-FFF2-40B4-BE49-F238E27FC236}">
                <a16:creationId xmlns:a16="http://schemas.microsoft.com/office/drawing/2014/main" id="{D54AD226-12DB-084A-5D5D-AABB4DB6EA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112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8" name="Kép 287">
            <a:extLst>
              <a:ext uri="{FF2B5EF4-FFF2-40B4-BE49-F238E27FC236}">
                <a16:creationId xmlns:a16="http://schemas.microsoft.com/office/drawing/2014/main" id="{829335F8-4A90-330F-D300-672FB5F288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569" y="37115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89" name="Kép 288">
            <a:extLst>
              <a:ext uri="{FF2B5EF4-FFF2-40B4-BE49-F238E27FC236}">
                <a16:creationId xmlns:a16="http://schemas.microsoft.com/office/drawing/2014/main" id="{DD9AD18A-0A96-FDEE-5E3B-0FCF0817E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85" y="37094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0" name="Kép 289">
            <a:extLst>
              <a:ext uri="{FF2B5EF4-FFF2-40B4-BE49-F238E27FC236}">
                <a16:creationId xmlns:a16="http://schemas.microsoft.com/office/drawing/2014/main" id="{F104DF6A-6DCD-DC4C-66BB-513830E660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338" y="33013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1" name="Kép 290" descr="A képen szöveg látható&#10;&#10;Automatikusan generált leírás">
            <a:extLst>
              <a:ext uri="{FF2B5EF4-FFF2-40B4-BE49-F238E27FC236}">
                <a16:creationId xmlns:a16="http://schemas.microsoft.com/office/drawing/2014/main" id="{89434F90-AD6F-D665-4452-4802A957E7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85" y="577698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2" name="Kép 291">
            <a:extLst>
              <a:ext uri="{FF2B5EF4-FFF2-40B4-BE49-F238E27FC236}">
                <a16:creationId xmlns:a16="http://schemas.microsoft.com/office/drawing/2014/main" id="{EFD09A41-E61C-FD09-9F22-320E8DED04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744" y="53664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3" name="Kép 292">
            <a:extLst>
              <a:ext uri="{FF2B5EF4-FFF2-40B4-BE49-F238E27FC236}">
                <a16:creationId xmlns:a16="http://schemas.microsoft.com/office/drawing/2014/main" id="{8D508CDE-00D0-16F3-3EE0-B9BEB0E662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02" y="53664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4" name="Kép 293">
            <a:extLst>
              <a:ext uri="{FF2B5EF4-FFF2-40B4-BE49-F238E27FC236}">
                <a16:creationId xmlns:a16="http://schemas.microsoft.com/office/drawing/2014/main" id="{4F26A292-9273-6033-45A4-54B32285DF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94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5" name="Kép 294">
            <a:extLst>
              <a:ext uri="{FF2B5EF4-FFF2-40B4-BE49-F238E27FC236}">
                <a16:creationId xmlns:a16="http://schemas.microsoft.com/office/drawing/2014/main" id="{C21867B3-5CED-C549-46E3-D251C6F742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946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6" name="Kép 295">
            <a:extLst>
              <a:ext uri="{FF2B5EF4-FFF2-40B4-BE49-F238E27FC236}">
                <a16:creationId xmlns:a16="http://schemas.microsoft.com/office/drawing/2014/main" id="{8D8C2807-F94A-A8F9-4642-A9A1A71510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465" y="4193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7" name="Kép 296">
            <a:extLst>
              <a:ext uri="{FF2B5EF4-FFF2-40B4-BE49-F238E27FC236}">
                <a16:creationId xmlns:a16="http://schemas.microsoft.com/office/drawing/2014/main" id="{5B79A9D5-A987-47E0-536A-04CE366A3A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923" y="41934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8" name="Kép 297">
            <a:extLst>
              <a:ext uri="{FF2B5EF4-FFF2-40B4-BE49-F238E27FC236}">
                <a16:creationId xmlns:a16="http://schemas.microsoft.com/office/drawing/2014/main" id="{A3961E85-1178-5BF3-B063-0254E45F36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512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299" name="Kép 298">
            <a:extLst>
              <a:ext uri="{FF2B5EF4-FFF2-40B4-BE49-F238E27FC236}">
                <a16:creationId xmlns:a16="http://schemas.microsoft.com/office/drawing/2014/main" id="{EFE8FFF3-9A7D-EFA6-AE57-BF5326D0CB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0" name="Kép 299">
            <a:extLst>
              <a:ext uri="{FF2B5EF4-FFF2-40B4-BE49-F238E27FC236}">
                <a16:creationId xmlns:a16="http://schemas.microsoft.com/office/drawing/2014/main" id="{AF3A1675-684F-54A8-6F84-3545A36EF6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45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1" name="Kép 300">
            <a:extLst>
              <a:ext uri="{FF2B5EF4-FFF2-40B4-BE49-F238E27FC236}">
                <a16:creationId xmlns:a16="http://schemas.microsoft.com/office/drawing/2014/main" id="{F6DE53B4-40FB-1979-A9D5-423A5F6FC4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2" name="Kép 301">
            <a:extLst>
              <a:ext uri="{FF2B5EF4-FFF2-40B4-BE49-F238E27FC236}">
                <a16:creationId xmlns:a16="http://schemas.microsoft.com/office/drawing/2014/main" id="{661F5186-FB3E-FBBB-58BD-192654CB8E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836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3" name="Kép 302">
            <a:extLst>
              <a:ext uri="{FF2B5EF4-FFF2-40B4-BE49-F238E27FC236}">
                <a16:creationId xmlns:a16="http://schemas.microsoft.com/office/drawing/2014/main" id="{8CB59683-8893-61A2-9D5F-C2AAD56AA7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294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4" name="Kép 303" descr="A képen szöveg látható&#10;&#10;Automatikusan generált leírás">
            <a:extLst>
              <a:ext uri="{FF2B5EF4-FFF2-40B4-BE49-F238E27FC236}">
                <a16:creationId xmlns:a16="http://schemas.microsoft.com/office/drawing/2014/main" id="{4BAD23A4-65CF-994D-EB21-DA7AD6065E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129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5" name="Kép 304">
            <a:extLst>
              <a:ext uri="{FF2B5EF4-FFF2-40B4-BE49-F238E27FC236}">
                <a16:creationId xmlns:a16="http://schemas.microsoft.com/office/drawing/2014/main" id="{851E95A5-2584-4184-A6A5-17147E976A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83" y="41902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6" name="Kép 305">
            <a:extLst>
              <a:ext uri="{FF2B5EF4-FFF2-40B4-BE49-F238E27FC236}">
                <a16:creationId xmlns:a16="http://schemas.microsoft.com/office/drawing/2014/main" id="{159B323F-8EE8-402E-AAAC-92296A56D7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751" y="12400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7" name="Kép 306">
            <a:extLst>
              <a:ext uri="{FF2B5EF4-FFF2-40B4-BE49-F238E27FC236}">
                <a16:creationId xmlns:a16="http://schemas.microsoft.com/office/drawing/2014/main" id="{EDD4F695-1C56-A91A-E1E6-21858CDA48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12412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8" name="Kép 307">
            <a:extLst>
              <a:ext uri="{FF2B5EF4-FFF2-40B4-BE49-F238E27FC236}">
                <a16:creationId xmlns:a16="http://schemas.microsoft.com/office/drawing/2014/main" id="{45F1DD71-E9C5-909B-B9F7-494EF420EE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929" y="124126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09" name="Kép 308" descr="A képen szöveg látható&#10;&#10;Automatikusan generált leírás">
            <a:extLst>
              <a:ext uri="{FF2B5EF4-FFF2-40B4-BE49-F238E27FC236}">
                <a16:creationId xmlns:a16="http://schemas.microsoft.com/office/drawing/2014/main" id="{D9D9E717-634F-809E-A388-072DFB25BE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22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0" name="Kép 309">
            <a:extLst>
              <a:ext uri="{FF2B5EF4-FFF2-40B4-BE49-F238E27FC236}">
                <a16:creationId xmlns:a16="http://schemas.microsoft.com/office/drawing/2014/main" id="{D54B5645-C4F3-1460-0628-575005A136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76" y="83014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1" name="Kép 310">
            <a:extLst>
              <a:ext uri="{FF2B5EF4-FFF2-40B4-BE49-F238E27FC236}">
                <a16:creationId xmlns:a16="http://schemas.microsoft.com/office/drawing/2014/main" id="{53DDF456-B49B-A118-5F71-ABDB3B5A5E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788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2" name="Kép 311">
            <a:extLst>
              <a:ext uri="{FF2B5EF4-FFF2-40B4-BE49-F238E27FC236}">
                <a16:creationId xmlns:a16="http://schemas.microsoft.com/office/drawing/2014/main" id="{E8334330-2390-678F-3457-2A3E43D1A6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4246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3" name="Kép 312">
            <a:extLst>
              <a:ext uri="{FF2B5EF4-FFF2-40B4-BE49-F238E27FC236}">
                <a16:creationId xmlns:a16="http://schemas.microsoft.com/office/drawing/2014/main" id="{CC03A017-9DA7-A11D-4B47-4E9F056DBC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703" y="853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4" name="Kép 313">
            <a:extLst>
              <a:ext uri="{FF2B5EF4-FFF2-40B4-BE49-F238E27FC236}">
                <a16:creationId xmlns:a16="http://schemas.microsoft.com/office/drawing/2014/main" id="{7569ACEB-8696-C1E4-0B76-989693C986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73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5" name="Kép 314">
            <a:extLst>
              <a:ext uri="{FF2B5EF4-FFF2-40B4-BE49-F238E27FC236}">
                <a16:creationId xmlns:a16="http://schemas.microsoft.com/office/drawing/2014/main" id="{B172DF74-12EC-D930-D0FB-79CB5710EA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732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6" name="Kép 315">
            <a:extLst>
              <a:ext uri="{FF2B5EF4-FFF2-40B4-BE49-F238E27FC236}">
                <a16:creationId xmlns:a16="http://schemas.microsoft.com/office/drawing/2014/main" id="{8599B257-E0C5-63E1-952F-DDBEDB3B10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896" y="4171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7" name="Kép 316">
            <a:extLst>
              <a:ext uri="{FF2B5EF4-FFF2-40B4-BE49-F238E27FC236}">
                <a16:creationId xmlns:a16="http://schemas.microsoft.com/office/drawing/2014/main" id="{A639CE61-602F-5FE9-A2E9-6355BDA79F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354" y="41719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8" name="Kép 317">
            <a:extLst>
              <a:ext uri="{FF2B5EF4-FFF2-40B4-BE49-F238E27FC236}">
                <a16:creationId xmlns:a16="http://schemas.microsoft.com/office/drawing/2014/main" id="{5806B8C8-EE78-3349-D9D0-9A35E871BB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943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19" name="Kép 318">
            <a:extLst>
              <a:ext uri="{FF2B5EF4-FFF2-40B4-BE49-F238E27FC236}">
                <a16:creationId xmlns:a16="http://schemas.microsoft.com/office/drawing/2014/main" id="{69F84EC0-77D8-645F-67D4-223CAFA04C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0" name="Kép 319">
            <a:extLst>
              <a:ext uri="{FF2B5EF4-FFF2-40B4-BE49-F238E27FC236}">
                <a16:creationId xmlns:a16="http://schemas.microsoft.com/office/drawing/2014/main" id="{944D2DD0-CAF1-E177-7E09-879C6F98AD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076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1" name="Kép 320">
            <a:extLst>
              <a:ext uri="{FF2B5EF4-FFF2-40B4-BE49-F238E27FC236}">
                <a16:creationId xmlns:a16="http://schemas.microsoft.com/office/drawing/2014/main" id="{0FE224C4-6189-802A-6DAA-DD4E13C257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2" name="Kép 321">
            <a:extLst>
              <a:ext uri="{FF2B5EF4-FFF2-40B4-BE49-F238E27FC236}">
                <a16:creationId xmlns:a16="http://schemas.microsoft.com/office/drawing/2014/main" id="{BA6CF3EE-2E4B-90CB-EE8E-8E15A89B6B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267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3" name="Kép 322">
            <a:extLst>
              <a:ext uri="{FF2B5EF4-FFF2-40B4-BE49-F238E27FC236}">
                <a16:creationId xmlns:a16="http://schemas.microsoft.com/office/drawing/2014/main" id="{AC784FB1-E0F3-3BB7-35FF-2BD96DC92C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725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4" name="Kép 323" descr="A képen szöveg látható&#10;&#10;Automatikusan generált leírás">
            <a:extLst>
              <a:ext uri="{FF2B5EF4-FFF2-40B4-BE49-F238E27FC236}">
                <a16:creationId xmlns:a16="http://schemas.microsoft.com/office/drawing/2014/main" id="{D25DED5E-A6F9-AA0A-D17D-267E292952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560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5" name="Kép 324">
            <a:extLst>
              <a:ext uri="{FF2B5EF4-FFF2-40B4-BE49-F238E27FC236}">
                <a16:creationId xmlns:a16="http://schemas.microsoft.com/office/drawing/2014/main" id="{5CF270BC-6E6C-F76B-B602-C18AEB70655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14" y="41688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6" name="Kép 325">
            <a:extLst>
              <a:ext uri="{FF2B5EF4-FFF2-40B4-BE49-F238E27FC236}">
                <a16:creationId xmlns:a16="http://schemas.microsoft.com/office/drawing/2014/main" id="{A70BFA40-6F09-3E25-5283-D8DC83C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182" y="123787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7" name="Kép 326">
            <a:extLst>
              <a:ext uri="{FF2B5EF4-FFF2-40B4-BE49-F238E27FC236}">
                <a16:creationId xmlns:a16="http://schemas.microsoft.com/office/drawing/2014/main" id="{6AF36B0A-7EBC-DEFB-E55A-B805E73074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12391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8" name="Kép 327">
            <a:extLst>
              <a:ext uri="{FF2B5EF4-FFF2-40B4-BE49-F238E27FC236}">
                <a16:creationId xmlns:a16="http://schemas.microsoft.com/office/drawing/2014/main" id="{CD0935CF-BEDF-8516-9DCD-C77CCC7E51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360" y="12391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29" name="Kép 328" descr="A képen szöveg látható&#10;&#10;Automatikusan generált leírás">
            <a:extLst>
              <a:ext uri="{FF2B5EF4-FFF2-40B4-BE49-F238E27FC236}">
                <a16:creationId xmlns:a16="http://schemas.microsoft.com/office/drawing/2014/main" id="{0D2B713B-818F-88A8-0547-4D88EA1F26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653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0" name="Kép 329">
            <a:extLst>
              <a:ext uri="{FF2B5EF4-FFF2-40B4-BE49-F238E27FC236}">
                <a16:creationId xmlns:a16="http://schemas.microsoft.com/office/drawing/2014/main" id="{99F42AF6-4A9A-C004-E766-7806A03570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407" y="8280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1" name="Kép 330">
            <a:extLst>
              <a:ext uri="{FF2B5EF4-FFF2-40B4-BE49-F238E27FC236}">
                <a16:creationId xmlns:a16="http://schemas.microsoft.com/office/drawing/2014/main" id="{20FD1253-1038-2375-F9DC-92C73D0179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19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2" name="Kép 331">
            <a:extLst>
              <a:ext uri="{FF2B5EF4-FFF2-40B4-BE49-F238E27FC236}">
                <a16:creationId xmlns:a16="http://schemas.microsoft.com/office/drawing/2014/main" id="{B69F081B-4255-34E6-50E6-BFBF200352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677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3" name="Kép 332">
            <a:extLst>
              <a:ext uri="{FF2B5EF4-FFF2-40B4-BE49-F238E27FC236}">
                <a16:creationId xmlns:a16="http://schemas.microsoft.com/office/drawing/2014/main" id="{256E4F5C-8ADE-6392-FDCF-4356841C01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5134" y="639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4" name="Kép 333">
            <a:extLst>
              <a:ext uri="{FF2B5EF4-FFF2-40B4-BE49-F238E27FC236}">
                <a16:creationId xmlns:a16="http://schemas.microsoft.com/office/drawing/2014/main" id="{EFE0378C-34C5-D711-F11C-3C73B5C721C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5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5" name="Kép 334">
            <a:extLst>
              <a:ext uri="{FF2B5EF4-FFF2-40B4-BE49-F238E27FC236}">
                <a16:creationId xmlns:a16="http://schemas.microsoft.com/office/drawing/2014/main" id="{AD158909-6145-6470-A9B0-4ABFC9382B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565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6" name="Kép 335">
            <a:extLst>
              <a:ext uri="{FF2B5EF4-FFF2-40B4-BE49-F238E27FC236}">
                <a16:creationId xmlns:a16="http://schemas.microsoft.com/office/drawing/2014/main" id="{AAFA2980-8BE3-219C-FB1E-A0EF768107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338" y="415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7" name="Kép 336">
            <a:extLst>
              <a:ext uri="{FF2B5EF4-FFF2-40B4-BE49-F238E27FC236}">
                <a16:creationId xmlns:a16="http://schemas.microsoft.com/office/drawing/2014/main" id="{32876739-A02F-D6C9-61FA-8D82315A7D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796" y="41553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8" name="Kép 337">
            <a:extLst>
              <a:ext uri="{FF2B5EF4-FFF2-40B4-BE49-F238E27FC236}">
                <a16:creationId xmlns:a16="http://schemas.microsoft.com/office/drawing/2014/main" id="{834AEDC2-D63A-C16A-08F7-05AD6D2BB3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85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39" name="Kép 338">
            <a:extLst>
              <a:ext uri="{FF2B5EF4-FFF2-40B4-BE49-F238E27FC236}">
                <a16:creationId xmlns:a16="http://schemas.microsoft.com/office/drawing/2014/main" id="{F4C45675-EA22-6DFD-9DEC-B4B2EEA403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0" name="Kép 339">
            <a:extLst>
              <a:ext uri="{FF2B5EF4-FFF2-40B4-BE49-F238E27FC236}">
                <a16:creationId xmlns:a16="http://schemas.microsoft.com/office/drawing/2014/main" id="{559F76BF-C179-2C5E-2D5A-BDA4B26DC33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18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1" name="Kép 340">
            <a:extLst>
              <a:ext uri="{FF2B5EF4-FFF2-40B4-BE49-F238E27FC236}">
                <a16:creationId xmlns:a16="http://schemas.microsoft.com/office/drawing/2014/main" id="{CCECDFAF-1D96-A565-D38A-F6A6F865C1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2" name="Kép 341">
            <a:extLst>
              <a:ext uri="{FF2B5EF4-FFF2-40B4-BE49-F238E27FC236}">
                <a16:creationId xmlns:a16="http://schemas.microsoft.com/office/drawing/2014/main" id="{B1719238-1F26-68FC-C04A-2B6C65BDEE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09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3" name="Kép 342">
            <a:extLst>
              <a:ext uri="{FF2B5EF4-FFF2-40B4-BE49-F238E27FC236}">
                <a16:creationId xmlns:a16="http://schemas.microsoft.com/office/drawing/2014/main" id="{096627B8-5185-5F11-050E-6ABA51CA24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167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4" name="Kép 343" descr="A képen szöveg látható&#10;&#10;Automatikusan generált leírás">
            <a:extLst>
              <a:ext uri="{FF2B5EF4-FFF2-40B4-BE49-F238E27FC236}">
                <a16:creationId xmlns:a16="http://schemas.microsoft.com/office/drawing/2014/main" id="{1D9C27E1-303B-DDEE-6594-7A331FA148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002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5" name="Kép 344">
            <a:extLst>
              <a:ext uri="{FF2B5EF4-FFF2-40B4-BE49-F238E27FC236}">
                <a16:creationId xmlns:a16="http://schemas.microsoft.com/office/drawing/2014/main" id="{82B30D3E-2F98-0409-D2CF-120EB1754E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756" y="41521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6" name="Kép 345">
            <a:extLst>
              <a:ext uri="{FF2B5EF4-FFF2-40B4-BE49-F238E27FC236}">
                <a16:creationId xmlns:a16="http://schemas.microsoft.com/office/drawing/2014/main" id="{9FF16980-94E9-22B5-0EF2-8CCBA6F04B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624" y="123620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7" name="Kép 346">
            <a:extLst>
              <a:ext uri="{FF2B5EF4-FFF2-40B4-BE49-F238E27FC236}">
                <a16:creationId xmlns:a16="http://schemas.microsoft.com/office/drawing/2014/main" id="{C930330F-61B7-88F8-EB13-6BA800B909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1237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8" name="Kép 347">
            <a:extLst>
              <a:ext uri="{FF2B5EF4-FFF2-40B4-BE49-F238E27FC236}">
                <a16:creationId xmlns:a16="http://schemas.microsoft.com/office/drawing/2014/main" id="{9C93C53B-51EB-0A54-10B5-2EF18C20FA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02" y="123745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49" name="Kép 348" descr="A képen szöveg látható&#10;&#10;Automatikusan generált leírás">
            <a:extLst>
              <a:ext uri="{FF2B5EF4-FFF2-40B4-BE49-F238E27FC236}">
                <a16:creationId xmlns:a16="http://schemas.microsoft.com/office/drawing/2014/main" id="{4FB09D9A-DE9C-CB06-2ED7-AF70768D72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095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0" name="Kép 349">
            <a:extLst>
              <a:ext uri="{FF2B5EF4-FFF2-40B4-BE49-F238E27FC236}">
                <a16:creationId xmlns:a16="http://schemas.microsoft.com/office/drawing/2014/main" id="{582200E9-0045-D938-7118-F3F171845B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49" y="82633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1" name="Kép 350">
            <a:extLst>
              <a:ext uri="{FF2B5EF4-FFF2-40B4-BE49-F238E27FC236}">
                <a16:creationId xmlns:a16="http://schemas.microsoft.com/office/drawing/2014/main" id="{5882313E-81F3-1EC9-E547-66DCE168B2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661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2" name="Kép 351">
            <a:extLst>
              <a:ext uri="{FF2B5EF4-FFF2-40B4-BE49-F238E27FC236}">
                <a16:creationId xmlns:a16="http://schemas.microsoft.com/office/drawing/2014/main" id="{A9B2CCB0-4913-31F7-F8DB-59930FFA75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2119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3" name="Kép 352">
            <a:extLst>
              <a:ext uri="{FF2B5EF4-FFF2-40B4-BE49-F238E27FC236}">
                <a16:creationId xmlns:a16="http://schemas.microsoft.com/office/drawing/2014/main" id="{1810F90B-9A5A-7E18-B158-34A16E3E68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576" y="4724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4" name="Kép 353">
            <a:extLst>
              <a:ext uri="{FF2B5EF4-FFF2-40B4-BE49-F238E27FC236}">
                <a16:creationId xmlns:a16="http://schemas.microsoft.com/office/drawing/2014/main" id="{CC1E93E7-5693-BE25-294D-BD03904AF2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35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5" name="Kép 354">
            <a:extLst>
              <a:ext uri="{FF2B5EF4-FFF2-40B4-BE49-F238E27FC236}">
                <a16:creationId xmlns:a16="http://schemas.microsoft.com/office/drawing/2014/main" id="{CE0A6243-F131-D475-D672-3EC69E51C2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351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6" name="Kép 355">
            <a:extLst>
              <a:ext uri="{FF2B5EF4-FFF2-40B4-BE49-F238E27FC236}">
                <a16:creationId xmlns:a16="http://schemas.microsoft.com/office/drawing/2014/main" id="{9DFADD0D-1ECA-17C8-355C-BE43AC9474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769" y="4133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7" name="Kép 356">
            <a:extLst>
              <a:ext uri="{FF2B5EF4-FFF2-40B4-BE49-F238E27FC236}">
                <a16:creationId xmlns:a16="http://schemas.microsoft.com/office/drawing/2014/main" id="{C2C91279-BC96-16E7-73C5-36B8CE12253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227" y="41339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8" name="Kép 357">
            <a:extLst>
              <a:ext uri="{FF2B5EF4-FFF2-40B4-BE49-F238E27FC236}">
                <a16:creationId xmlns:a16="http://schemas.microsoft.com/office/drawing/2014/main" id="{CC6E765D-D58D-0BED-DD7A-740D2AC44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6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59" name="Kép 358">
            <a:extLst>
              <a:ext uri="{FF2B5EF4-FFF2-40B4-BE49-F238E27FC236}">
                <a16:creationId xmlns:a16="http://schemas.microsoft.com/office/drawing/2014/main" id="{255121DD-FE13-8C71-1C7A-1EF84AB368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0" name="Kép 359">
            <a:extLst>
              <a:ext uri="{FF2B5EF4-FFF2-40B4-BE49-F238E27FC236}">
                <a16:creationId xmlns:a16="http://schemas.microsoft.com/office/drawing/2014/main" id="{78F75337-346B-9648-E5AF-63321AC23A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949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1" name="Kép 360">
            <a:extLst>
              <a:ext uri="{FF2B5EF4-FFF2-40B4-BE49-F238E27FC236}">
                <a16:creationId xmlns:a16="http://schemas.microsoft.com/office/drawing/2014/main" id="{F318095C-D0D9-AE64-7085-6EEF3F87EA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2" name="Kép 361">
            <a:extLst>
              <a:ext uri="{FF2B5EF4-FFF2-40B4-BE49-F238E27FC236}">
                <a16:creationId xmlns:a16="http://schemas.microsoft.com/office/drawing/2014/main" id="{511C171A-0FDD-7ABA-11E8-1663511DED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140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3" name="Kép 362">
            <a:extLst>
              <a:ext uri="{FF2B5EF4-FFF2-40B4-BE49-F238E27FC236}">
                <a16:creationId xmlns:a16="http://schemas.microsoft.com/office/drawing/2014/main" id="{C4A702C8-84E4-E528-7E3A-3F139728B8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598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4" name="Kép 363" descr="A képen szöveg látható&#10;&#10;Automatikusan generált leírás">
            <a:extLst>
              <a:ext uri="{FF2B5EF4-FFF2-40B4-BE49-F238E27FC236}">
                <a16:creationId xmlns:a16="http://schemas.microsoft.com/office/drawing/2014/main" id="{AA10BCC7-402C-0992-A416-81B7DE6AFC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6433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5" name="Kép 364">
            <a:extLst>
              <a:ext uri="{FF2B5EF4-FFF2-40B4-BE49-F238E27FC236}">
                <a16:creationId xmlns:a16="http://schemas.microsoft.com/office/drawing/2014/main" id="{0AFD20E0-BDAF-C3A6-34FC-DDC2281A4A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87" y="413077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6" name="Kép 365">
            <a:extLst>
              <a:ext uri="{FF2B5EF4-FFF2-40B4-BE49-F238E27FC236}">
                <a16:creationId xmlns:a16="http://schemas.microsoft.com/office/drawing/2014/main" id="{F148235E-D17F-3670-D146-CA5B5F0C4F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055" y="12340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7" name="Kép 366">
            <a:extLst>
              <a:ext uri="{FF2B5EF4-FFF2-40B4-BE49-F238E27FC236}">
                <a16:creationId xmlns:a16="http://schemas.microsoft.com/office/drawing/2014/main" id="{1601903E-812B-A7CD-AEC0-88E06FF83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123531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8" name="Kép 367">
            <a:extLst>
              <a:ext uri="{FF2B5EF4-FFF2-40B4-BE49-F238E27FC236}">
                <a16:creationId xmlns:a16="http://schemas.microsoft.com/office/drawing/2014/main" id="{486580D8-90CB-6D7A-1C49-C71CC5FC81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0233" y="1235310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69" name="Kép 368" descr="A képen szöveg látható&#10;&#10;Automatikusan generált leírás">
            <a:extLst>
              <a:ext uri="{FF2B5EF4-FFF2-40B4-BE49-F238E27FC236}">
                <a16:creationId xmlns:a16="http://schemas.microsoft.com/office/drawing/2014/main" id="{5815C68C-A5AD-4F16-9634-B3E88A29FA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26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0" name="Kép 369">
            <a:extLst>
              <a:ext uri="{FF2B5EF4-FFF2-40B4-BE49-F238E27FC236}">
                <a16:creationId xmlns:a16="http://schemas.microsoft.com/office/drawing/2014/main" id="{513A2E48-7FAA-1012-AD16-C6FF9F9FF4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280" y="824193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1" name="Kép 370">
            <a:extLst>
              <a:ext uri="{FF2B5EF4-FFF2-40B4-BE49-F238E27FC236}">
                <a16:creationId xmlns:a16="http://schemas.microsoft.com/office/drawing/2014/main" id="{E60CF4E2-5FD6-481D-7345-EE9788C5A4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092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2" name="Kép 371">
            <a:extLst>
              <a:ext uri="{FF2B5EF4-FFF2-40B4-BE49-F238E27FC236}">
                <a16:creationId xmlns:a16="http://schemas.microsoft.com/office/drawing/2014/main" id="{FEB823AF-A093-D91B-0F2C-11C625B45C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550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3" name="Kép 372">
            <a:extLst>
              <a:ext uri="{FF2B5EF4-FFF2-40B4-BE49-F238E27FC236}">
                <a16:creationId xmlns:a16="http://schemas.microsoft.com/office/drawing/2014/main" id="{600D0326-4805-DC41-F491-10265D12A4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07" y="258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4" name="Kép 373">
            <a:extLst>
              <a:ext uri="{FF2B5EF4-FFF2-40B4-BE49-F238E27FC236}">
                <a16:creationId xmlns:a16="http://schemas.microsoft.com/office/drawing/2014/main" id="{666895C9-9158-B6AC-08DC-7E45DEDBBC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708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5" name="Kép 374">
            <a:extLst>
              <a:ext uri="{FF2B5EF4-FFF2-40B4-BE49-F238E27FC236}">
                <a16:creationId xmlns:a16="http://schemas.microsoft.com/office/drawing/2014/main" id="{88C3F20A-8EBB-73B5-C2A7-95AA4CF057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470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6" name="Kép 375">
            <a:extLst>
              <a:ext uri="{FF2B5EF4-FFF2-40B4-BE49-F238E27FC236}">
                <a16:creationId xmlns:a16="http://schemas.microsoft.com/office/drawing/2014/main" id="{A1D307E2-C45A-4C18-A93B-360181C5CC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7" name="Kép 376">
            <a:extLst>
              <a:ext uri="{FF2B5EF4-FFF2-40B4-BE49-F238E27FC236}">
                <a16:creationId xmlns:a16="http://schemas.microsoft.com/office/drawing/2014/main" id="{CB997B49-F8E3-0BF3-2FDA-D466B11187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61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8" name="Kép 377">
            <a:extLst>
              <a:ext uri="{FF2B5EF4-FFF2-40B4-BE49-F238E27FC236}">
                <a16:creationId xmlns:a16="http://schemas.microsoft.com/office/drawing/2014/main" id="{646CA3BD-E5AF-819E-78E2-BD2E52690F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119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79" name="Kép 378">
            <a:extLst>
              <a:ext uri="{FF2B5EF4-FFF2-40B4-BE49-F238E27FC236}">
                <a16:creationId xmlns:a16="http://schemas.microsoft.com/office/drawing/2014/main" id="{42C8918C-74D7-62F6-7AD6-627EECBA820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576" y="413702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0" name="Kép 379">
            <a:extLst>
              <a:ext uri="{FF2B5EF4-FFF2-40B4-BE49-F238E27FC236}">
                <a16:creationId xmlns:a16="http://schemas.microsoft.com/office/drawing/2014/main" id="{C558E607-FCE0-A8BE-4A33-E0834B0F8C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41494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1" name="Kép 380" descr="A képen szöveg látható&#10;&#10;Automatikusan generált leírás">
            <a:extLst>
              <a:ext uri="{FF2B5EF4-FFF2-40B4-BE49-F238E27FC236}">
                <a16:creationId xmlns:a16="http://schemas.microsoft.com/office/drawing/2014/main" id="{EA02B716-3785-F452-D610-275F64101A7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047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2" name="Kép 381">
            <a:extLst>
              <a:ext uri="{FF2B5EF4-FFF2-40B4-BE49-F238E27FC236}">
                <a16:creationId xmlns:a16="http://schemas.microsoft.com/office/drawing/2014/main" id="{E70268A5-BA0C-B5C3-3C9D-283FEA64EA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1" y="382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3" name="Kép 382" descr="A képen szöveg látható&#10;&#10;Automatikusan generált leírás">
            <a:extLst>
              <a:ext uri="{FF2B5EF4-FFF2-40B4-BE49-F238E27FC236}">
                <a16:creationId xmlns:a16="http://schemas.microsoft.com/office/drawing/2014/main" id="{230CE233-5396-E2D5-9D6C-18496DDA49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34" y="1644566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4" name="Kép 383">
            <a:extLst>
              <a:ext uri="{FF2B5EF4-FFF2-40B4-BE49-F238E27FC236}">
                <a16:creationId xmlns:a16="http://schemas.microsoft.com/office/drawing/2014/main" id="{A814B816-6607-A32A-8951-25AFD7205AC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02" y="82419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5" name="Kép 384">
            <a:extLst>
              <a:ext uri="{FF2B5EF4-FFF2-40B4-BE49-F238E27FC236}">
                <a16:creationId xmlns:a16="http://schemas.microsoft.com/office/drawing/2014/main" id="{1B4D8CEB-F83A-3B7A-DC2B-7C58DE019A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82419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6" name="Kép 385">
            <a:extLst>
              <a:ext uri="{FF2B5EF4-FFF2-40B4-BE49-F238E27FC236}">
                <a16:creationId xmlns:a16="http://schemas.microsoft.com/office/drawing/2014/main" id="{194FAE65-4E39-3917-A734-E58704B2AF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93" y="12340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7" name="Kép 386">
            <a:extLst>
              <a:ext uri="{FF2B5EF4-FFF2-40B4-BE49-F238E27FC236}">
                <a16:creationId xmlns:a16="http://schemas.microsoft.com/office/drawing/2014/main" id="{ADFD0014-343A-9DEF-E005-127982FB49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751" y="123407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8" name="Kép 387">
            <a:extLst>
              <a:ext uri="{FF2B5EF4-FFF2-40B4-BE49-F238E27FC236}">
                <a16:creationId xmlns:a16="http://schemas.microsoft.com/office/drawing/2014/main" id="{44548701-CA3D-74CD-C3B3-21AE89217F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977" y="823889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89" name="Kép 388">
            <a:extLst>
              <a:ext uri="{FF2B5EF4-FFF2-40B4-BE49-F238E27FC236}">
                <a16:creationId xmlns:a16="http://schemas.microsoft.com/office/drawing/2014/main" id="{EEB9B3DB-5259-BB32-A43D-89391A320E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49471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0" name="Kép 389">
            <a:extLst>
              <a:ext uri="{FF2B5EF4-FFF2-40B4-BE49-F238E27FC236}">
                <a16:creationId xmlns:a16="http://schemas.microsoft.com/office/drawing/2014/main" id="{0DABD70B-8156-1916-087E-D1A204E5B6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24" y="494719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1" name="Kép 390">
            <a:extLst>
              <a:ext uri="{FF2B5EF4-FFF2-40B4-BE49-F238E27FC236}">
                <a16:creationId xmlns:a16="http://schemas.microsoft.com/office/drawing/2014/main" id="{48EDDA96-9CAA-456B-85A0-EACE3984F78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71" y="45360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2" name="Kép 391">
            <a:extLst>
              <a:ext uri="{FF2B5EF4-FFF2-40B4-BE49-F238E27FC236}">
                <a16:creationId xmlns:a16="http://schemas.microsoft.com/office/drawing/2014/main" id="{FB9FC20C-FC6A-9244-317E-CBF770C07E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35430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3" name="Kép 392">
            <a:extLst>
              <a:ext uri="{FF2B5EF4-FFF2-40B4-BE49-F238E27FC236}">
                <a16:creationId xmlns:a16="http://schemas.microsoft.com/office/drawing/2014/main" id="{9815EB31-B1DF-E6D0-8DA0-B1D05B5747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35430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4" name="Kép 393">
            <a:extLst>
              <a:ext uri="{FF2B5EF4-FFF2-40B4-BE49-F238E27FC236}">
                <a16:creationId xmlns:a16="http://schemas.microsoft.com/office/drawing/2014/main" id="{2B0A8CB5-1252-DA16-5D69-AC7AFE5BA8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0128" y="57641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5" name="Kép 394">
            <a:extLst>
              <a:ext uri="{FF2B5EF4-FFF2-40B4-BE49-F238E27FC236}">
                <a16:creationId xmlns:a16="http://schemas.microsoft.com/office/drawing/2014/main" id="{035EDCE9-2794-C496-1739-16C0AEC6D3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586" y="5764178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6" name="Kép 395">
            <a:extLst>
              <a:ext uri="{FF2B5EF4-FFF2-40B4-BE49-F238E27FC236}">
                <a16:creationId xmlns:a16="http://schemas.microsoft.com/office/drawing/2014/main" id="{D45E81AB-B18D-9896-682B-5F78E500FB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75" y="576386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7" name="Kép 396">
            <a:extLst>
              <a:ext uri="{FF2B5EF4-FFF2-40B4-BE49-F238E27FC236}">
                <a16:creationId xmlns:a16="http://schemas.microsoft.com/office/drawing/2014/main" id="{A45C3A56-722E-E75F-7758-5F810DDF8D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8" name="Kép 397">
            <a:extLst>
              <a:ext uri="{FF2B5EF4-FFF2-40B4-BE49-F238E27FC236}">
                <a16:creationId xmlns:a16="http://schemas.microsoft.com/office/drawing/2014/main" id="{618F198C-6DE0-0A8A-BDC1-632EFE8CEE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308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399" name="Kép 398">
            <a:extLst>
              <a:ext uri="{FF2B5EF4-FFF2-40B4-BE49-F238E27FC236}">
                <a16:creationId xmlns:a16="http://schemas.microsoft.com/office/drawing/2014/main" id="{F164D6D2-C6AF-3A7A-301B-C49B9B1F1F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499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00" name="Kép 399">
            <a:extLst>
              <a:ext uri="{FF2B5EF4-FFF2-40B4-BE49-F238E27FC236}">
                <a16:creationId xmlns:a16="http://schemas.microsoft.com/office/drawing/2014/main" id="{111FE34D-28CA-2072-D41C-528D9BA3AA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546" y="5763865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01" name="Kép 400" descr="A képen szöveg látható&#10;&#10;Automatikusan generált leírás">
            <a:extLst>
              <a:ext uri="{FF2B5EF4-FFF2-40B4-BE49-F238E27FC236}">
                <a16:creationId xmlns:a16="http://schemas.microsoft.com/office/drawing/2014/main" id="{28E2ADDE-1015-AD8C-6345-F1BE02D9D2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885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02" name="Kép 401">
            <a:extLst>
              <a:ext uri="{FF2B5EF4-FFF2-40B4-BE49-F238E27FC236}">
                <a16:creationId xmlns:a16="http://schemas.microsoft.com/office/drawing/2014/main" id="{16BF5B53-1FAB-8038-61F1-74068C70A6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639" y="6174981"/>
            <a:ext cx="688704" cy="688704"/>
          </a:xfrm>
          <a:prstGeom prst="rect">
            <a:avLst/>
          </a:prstGeom>
          <a:ln>
            <a:noFill/>
          </a:ln>
        </p:spPr>
      </p:pic>
      <p:pic>
        <p:nvPicPr>
          <p:cNvPr id="403" name="Kép 402">
            <a:extLst>
              <a:ext uri="{FF2B5EF4-FFF2-40B4-BE49-F238E27FC236}">
                <a16:creationId xmlns:a16="http://schemas.microsoft.com/office/drawing/2014/main" id="{8AF5C488-8036-1D6E-93D0-D09DA57350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366" y="5353370"/>
            <a:ext cx="688704" cy="68870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152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0</Words>
  <Application>Microsoft Office PowerPoint</Application>
  <PresentationFormat>Szélesvásznú</PresentationFormat>
  <Paragraphs>0</Paragraphs>
  <Slides>7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Office-téma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Cimer Ádám</dc:creator>
  <cp:lastModifiedBy>Cimer Ádám</cp:lastModifiedBy>
  <cp:revision>1</cp:revision>
  <dcterms:created xsi:type="dcterms:W3CDTF">2023-03-07T20:49:12Z</dcterms:created>
  <dcterms:modified xsi:type="dcterms:W3CDTF">2023-03-07T21:34:49Z</dcterms:modified>
</cp:coreProperties>
</file>